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media/image25.jpg" ContentType="image/unknown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2" r:id="rId2"/>
  </p:sldMasterIdLst>
  <p:notesMasterIdLst>
    <p:notesMasterId r:id="rId10"/>
  </p:notesMasterIdLst>
  <p:sldIdLst>
    <p:sldId id="256" r:id="rId3"/>
    <p:sldId id="517" r:id="rId4"/>
    <p:sldId id="524" r:id="rId5"/>
    <p:sldId id="527" r:id="rId6"/>
    <p:sldId id="528" r:id="rId7"/>
    <p:sldId id="296" r:id="rId8"/>
    <p:sldId id="297" r:id="rId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08"/>
    <p:restoredTop sz="94807"/>
  </p:normalViewPr>
  <p:slideViewPr>
    <p:cSldViewPr snapToGrid="0" snapToObjects="1">
      <p:cViewPr>
        <p:scale>
          <a:sx n="47" d="100"/>
          <a:sy n="47" d="100"/>
        </p:scale>
        <p:origin x="2198" y="72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9" d="100"/>
          <a:sy n="99" d="100"/>
        </p:scale>
        <p:origin x="427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812D70-BD61-5B43-B023-ED0564F9C750}" type="datetimeFigureOut">
              <a:rPr lang="ru-RU" smtClean="0"/>
              <a:t>23.08.2022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564DE1-85C1-4E44-9EDD-7704DD5A75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50788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564DE1-85C1-4E44-9EDD-7704DD5A750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12119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g61f45587f5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6225" cy="3727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3" name="Google Shape;163;g61f45587f5_0_0:notes"/>
          <p:cNvSpPr txBox="1">
            <a:spLocks noGrp="1"/>
          </p:cNvSpPr>
          <p:nvPr>
            <p:ph type="body" idx="1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5369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gradFill>
          <a:gsLst>
            <a:gs pos="0">
              <a:schemeClr val="tx1"/>
            </a:gs>
            <a:gs pos="50000">
              <a:schemeClr val="tx2"/>
            </a:gs>
            <a:gs pos="100000">
              <a:schemeClr val="bg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06EE8A7C-3B21-3F43-BF8A-81E78E5CDE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0697" t="19890" r="30539" b="14231"/>
          <a:stretch/>
        </p:blipFill>
        <p:spPr>
          <a:xfrm>
            <a:off x="3358614" y="0"/>
            <a:ext cx="8833386" cy="6858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A9795CF-F801-4703-A496-799D21F16F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1623" r="16223"/>
          <a:stretch/>
        </p:blipFill>
        <p:spPr>
          <a:xfrm>
            <a:off x="4554051" y="0"/>
            <a:ext cx="7577847" cy="6858000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EEC96A4A-E79A-A743-B9B6-066F335C31B5}"/>
              </a:ext>
            </a:extLst>
          </p:cNvPr>
          <p:cNvSpPr/>
          <p:nvPr userDrawn="1"/>
        </p:nvSpPr>
        <p:spPr>
          <a:xfrm>
            <a:off x="-65558" y="-143373"/>
            <a:ext cx="9136297" cy="7466428"/>
          </a:xfrm>
          <a:custGeom>
            <a:avLst/>
            <a:gdLst>
              <a:gd name="connsiteX0" fmla="*/ 5431536 w 8705088"/>
              <a:gd name="connsiteY0" fmla="*/ 36576 h 7114032"/>
              <a:gd name="connsiteX1" fmla="*/ 5431536 w 8705088"/>
              <a:gd name="connsiteY1" fmla="*/ 3840480 h 7114032"/>
              <a:gd name="connsiteX2" fmla="*/ 8705088 w 8705088"/>
              <a:gd name="connsiteY2" fmla="*/ 7114032 h 7114032"/>
              <a:gd name="connsiteX3" fmla="*/ 0 w 8705088"/>
              <a:gd name="connsiteY3" fmla="*/ 7114032 h 7114032"/>
              <a:gd name="connsiteX4" fmla="*/ 0 w 8705088"/>
              <a:gd name="connsiteY4" fmla="*/ 0 h 7114032"/>
              <a:gd name="connsiteX5" fmla="*/ 5431536 w 8705088"/>
              <a:gd name="connsiteY5" fmla="*/ 36576 h 711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05088" h="7114032">
                <a:moveTo>
                  <a:pt x="5431536" y="36576"/>
                </a:moveTo>
                <a:lnTo>
                  <a:pt x="5431536" y="3840480"/>
                </a:lnTo>
                <a:lnTo>
                  <a:pt x="8705088" y="7114032"/>
                </a:lnTo>
                <a:lnTo>
                  <a:pt x="0" y="7114032"/>
                </a:lnTo>
                <a:lnTo>
                  <a:pt x="0" y="0"/>
                </a:lnTo>
                <a:lnTo>
                  <a:pt x="5431536" y="36576"/>
                </a:lnTo>
                <a:close/>
              </a:path>
            </a:pathLst>
          </a:custGeom>
          <a:gradFill>
            <a:gsLst>
              <a:gs pos="0">
                <a:schemeClr val="tx1"/>
              </a:gs>
              <a:gs pos="50000">
                <a:schemeClr val="tx2"/>
              </a:gs>
              <a:gs pos="10000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6135F98-4020-9D43-969D-268C57BC3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257" y="3897313"/>
            <a:ext cx="7119065" cy="277744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6000" b="0" i="0">
                <a:solidFill>
                  <a:schemeClr val="bg1"/>
                </a:solidFill>
                <a:latin typeface="Navigo Medium" panose="02070503070706040303" pitchFamily="18" charset="77"/>
                <a:ea typeface="Navigo Medium" panose="02070503070706040303" pitchFamily="18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 </a:t>
            </a:r>
            <a:endParaRPr lang="ru-RU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6798EF-6CC7-AA4C-907E-3F5C640D68E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9212" y="620713"/>
            <a:ext cx="3527242" cy="46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0349F12-DB43-7A4F-9A1D-1E7283C64963}"/>
              </a:ext>
            </a:extLst>
          </p:cNvPr>
          <p:cNvSpPr txBox="1"/>
          <p:nvPr userDrawn="1"/>
        </p:nvSpPr>
        <p:spPr>
          <a:xfrm rot="16200000">
            <a:off x="10622596" y="5152562"/>
            <a:ext cx="20074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i="0" dirty="0" err="1">
                <a:solidFill>
                  <a:schemeClr val="bg1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t>kanikurgan.ru</a:t>
            </a:r>
            <a:endParaRPr lang="en-US" sz="2000" b="0" i="0" dirty="0">
              <a:solidFill>
                <a:schemeClr val="bg1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4581429-EC23-4145-BB79-6DDA1FB0E6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10450203" y="1501949"/>
            <a:ext cx="2368550" cy="416408"/>
          </a:xfrm>
          <a:ln>
            <a:noFill/>
          </a:ln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2000" b="0" i="0">
                <a:ln>
                  <a:noFill/>
                </a:ln>
                <a:solidFill>
                  <a:schemeClr val="bg1"/>
                </a:solidFill>
                <a:latin typeface="Navigo" panose="02070503070706040303" pitchFamily="18" charset="77"/>
                <a:ea typeface="Navigo" panose="02070503070706040303" pitchFamily="18" charset="77"/>
              </a:defRPr>
            </a:lvl1pPr>
            <a:lvl2pPr marL="457200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400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600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800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наши услуги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C7532D-1E84-344C-A2BC-D7D316F6CD91}"/>
              </a:ext>
            </a:extLst>
          </p:cNvPr>
          <p:cNvSpPr txBox="1"/>
          <p:nvPr userDrawn="1"/>
        </p:nvSpPr>
        <p:spPr>
          <a:xfrm>
            <a:off x="1066800" y="438443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4780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F7327AD-4FDD-C348-900F-A41E7D2299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76174" t="19967" r="44021" b="24379"/>
          <a:stretch/>
        </p:blipFill>
        <p:spPr>
          <a:xfrm>
            <a:off x="0" y="1"/>
            <a:ext cx="12216715" cy="68579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0349F12-DB43-7A4F-9A1D-1E7283C64963}"/>
              </a:ext>
            </a:extLst>
          </p:cNvPr>
          <p:cNvSpPr txBox="1"/>
          <p:nvPr userDrawn="1"/>
        </p:nvSpPr>
        <p:spPr>
          <a:xfrm rot="16200000">
            <a:off x="10622596" y="5191034"/>
            <a:ext cx="20074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0" i="0" dirty="0" err="1">
                <a:solidFill>
                  <a:schemeClr val="bg1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t>kanikurgan.ru</a:t>
            </a:r>
            <a:endParaRPr lang="en-US" sz="1500" b="0" i="0" dirty="0">
              <a:solidFill>
                <a:schemeClr val="bg1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C7532D-1E84-344C-A2BC-D7D316F6CD91}"/>
              </a:ext>
            </a:extLst>
          </p:cNvPr>
          <p:cNvSpPr txBox="1"/>
          <p:nvPr userDrawn="1"/>
        </p:nvSpPr>
        <p:spPr>
          <a:xfrm>
            <a:off x="1066800" y="438443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87D626F-3B17-0247-AFC9-8DE94FFCF6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49025" y="608508"/>
            <a:ext cx="468000" cy="48326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C6D43D7-A08B-624F-B3BD-8649BC436541}"/>
              </a:ext>
            </a:extLst>
          </p:cNvPr>
          <p:cNvSpPr txBox="1"/>
          <p:nvPr userDrawn="1"/>
        </p:nvSpPr>
        <p:spPr>
          <a:xfrm rot="16200000">
            <a:off x="11229457" y="3267418"/>
            <a:ext cx="79375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083E41D-AFDA-A14F-9744-69F240A0560B}" type="slidenum">
              <a:rPr lang="en-US" sz="1500" b="0" i="0" smtClean="0">
                <a:solidFill>
                  <a:schemeClr val="bg1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pPr algn="ctr"/>
              <a:t>‹#›</a:t>
            </a:fld>
            <a:endParaRPr lang="en-US" sz="1500" b="0" i="0" dirty="0">
              <a:solidFill>
                <a:schemeClr val="bg1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CD82140-341A-9D47-8205-4016951229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489" y="2400412"/>
            <a:ext cx="5727700" cy="315565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None/>
              <a:defRPr sz="18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BDDBBB93-9B4F-7B4C-B251-5B7AEFA258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9447" y="5717278"/>
            <a:ext cx="4759928" cy="63907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E1D399F-68B1-804A-A081-EC30E59BE6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258" y="383933"/>
            <a:ext cx="7132742" cy="1537080"/>
          </a:xfrm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500" b="0" i="0">
                <a:solidFill>
                  <a:schemeClr val="tx1"/>
                </a:solidFill>
                <a:latin typeface="Navigo Medium" panose="02070503070706040303" pitchFamily="18" charset="77"/>
                <a:ea typeface="Navigo Medium" panose="02070503070706040303" pitchFamily="18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Наименование слайда </a:t>
            </a:r>
            <a:br>
              <a:rPr lang="ru-RU" dirty="0"/>
            </a:br>
            <a:r>
              <a:rPr lang="ru-RU" dirty="0"/>
              <a:t>в одну/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2085009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46E4B21-A75F-5F45-AE43-2C63471C88C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-1"/>
            <a:ext cx="12192000" cy="3897313"/>
          </a:xfrm>
        </p:spPr>
        <p:txBody>
          <a:bodyPr/>
          <a:lstStyle/>
          <a:p>
            <a:endParaRPr lang="ru-R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349F12-DB43-7A4F-9A1D-1E7283C64963}"/>
              </a:ext>
            </a:extLst>
          </p:cNvPr>
          <p:cNvSpPr txBox="1"/>
          <p:nvPr userDrawn="1"/>
        </p:nvSpPr>
        <p:spPr>
          <a:xfrm rot="16200000">
            <a:off x="10622596" y="5191034"/>
            <a:ext cx="20074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0" i="0" dirty="0" err="1">
                <a:solidFill>
                  <a:schemeClr val="accent2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t>kanikurgan.ru</a:t>
            </a:r>
            <a:endParaRPr lang="en-US" sz="1500" b="0" i="0" dirty="0">
              <a:solidFill>
                <a:schemeClr val="accent2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C7532D-1E84-344C-A2BC-D7D316F6CD91}"/>
              </a:ext>
            </a:extLst>
          </p:cNvPr>
          <p:cNvSpPr txBox="1"/>
          <p:nvPr userDrawn="1"/>
        </p:nvSpPr>
        <p:spPr>
          <a:xfrm>
            <a:off x="1066800" y="438443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87D626F-3B17-0247-AFC9-8DE94FFCF6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9025" y="608508"/>
            <a:ext cx="468000" cy="48326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C6D43D7-A08B-624F-B3BD-8649BC436541}"/>
              </a:ext>
            </a:extLst>
          </p:cNvPr>
          <p:cNvSpPr txBox="1"/>
          <p:nvPr userDrawn="1"/>
        </p:nvSpPr>
        <p:spPr>
          <a:xfrm rot="16200000">
            <a:off x="11229457" y="3267418"/>
            <a:ext cx="79375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083E41D-AFDA-A14F-9744-69F240A0560B}" type="slidenum">
              <a:rPr lang="en-US" sz="1500" b="0" i="0" smtClean="0">
                <a:solidFill>
                  <a:schemeClr val="tx1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pPr algn="ctr"/>
              <a:t>‹#›</a:t>
            </a:fld>
            <a:endParaRPr lang="en-US" sz="1500" b="0" i="0" dirty="0">
              <a:solidFill>
                <a:schemeClr val="tx1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BB03B91C-E664-1A4D-9148-386C2EC3CA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0739" y="4992395"/>
            <a:ext cx="2450176" cy="12448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EC6F4740-81AE-DD4E-8145-E16238FEAF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04461" y="4992395"/>
            <a:ext cx="2450176" cy="12448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C8CB85EB-1AFC-0341-BEB9-9C9CB1B98F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11609" y="4992395"/>
            <a:ext cx="2450176" cy="12448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F9718F1C-7335-EF49-9D27-2289512792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15172" y="4992395"/>
            <a:ext cx="2450176" cy="124489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67B76636-1AF3-5A4C-B5FB-856DA4DD71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0419" y="4203517"/>
            <a:ext cx="2450176" cy="100317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2"/>
                </a:solidFill>
                <a:latin typeface="+mj-lt"/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 dirty="0"/>
              <a:t>Крупно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2E51E153-0497-0F4D-9A76-892926AA3C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84141" y="4203517"/>
            <a:ext cx="2450176" cy="100317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2"/>
                </a:solidFill>
                <a:latin typeface="+mj-lt"/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 dirty="0"/>
              <a:t>Крупно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43C504FF-DB22-544F-B921-C1C0F81443E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81129" y="4203517"/>
            <a:ext cx="2450176" cy="100317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2"/>
                </a:solidFill>
                <a:latin typeface="+mj-lt"/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 dirty="0"/>
              <a:t>Крупно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D875BBD-5E1B-B742-8A1D-9B7F046299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05012" y="4203517"/>
            <a:ext cx="2450176" cy="100317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2"/>
                </a:solidFill>
                <a:latin typeface="+mj-lt"/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 dirty="0"/>
              <a:t>Крупно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5A5D1F01-0284-F542-9B14-C83E6370644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258" y="383933"/>
            <a:ext cx="7132742" cy="1537080"/>
          </a:xfrm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500" b="0" i="0">
                <a:solidFill>
                  <a:schemeClr val="tx1"/>
                </a:solidFill>
                <a:latin typeface="Navigo Medium" panose="02070503070706040303" pitchFamily="18" charset="77"/>
                <a:ea typeface="Navigo Medium" panose="02070503070706040303" pitchFamily="18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Наименование слайда </a:t>
            </a:r>
            <a:br>
              <a:rPr lang="ru-RU" dirty="0"/>
            </a:br>
            <a:r>
              <a:rPr lang="ru-RU" dirty="0"/>
              <a:t>в одну/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23151411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0349F12-DB43-7A4F-9A1D-1E7283C64963}"/>
              </a:ext>
            </a:extLst>
          </p:cNvPr>
          <p:cNvSpPr txBox="1"/>
          <p:nvPr userDrawn="1"/>
        </p:nvSpPr>
        <p:spPr>
          <a:xfrm rot="16200000">
            <a:off x="10622596" y="5191034"/>
            <a:ext cx="20074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0" i="0" dirty="0" err="1">
                <a:solidFill>
                  <a:schemeClr val="accent2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t>kanikurgan.ru</a:t>
            </a:r>
            <a:endParaRPr lang="en-US" sz="1500" b="0" i="0" dirty="0">
              <a:solidFill>
                <a:schemeClr val="accent2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C7532D-1E84-344C-A2BC-D7D316F6CD91}"/>
              </a:ext>
            </a:extLst>
          </p:cNvPr>
          <p:cNvSpPr txBox="1"/>
          <p:nvPr userDrawn="1"/>
        </p:nvSpPr>
        <p:spPr>
          <a:xfrm>
            <a:off x="1066800" y="438443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87D626F-3B17-0247-AFC9-8DE94FFCF6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9025" y="608508"/>
            <a:ext cx="468000" cy="48326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C6D43D7-A08B-624F-B3BD-8649BC436541}"/>
              </a:ext>
            </a:extLst>
          </p:cNvPr>
          <p:cNvSpPr txBox="1"/>
          <p:nvPr userDrawn="1"/>
        </p:nvSpPr>
        <p:spPr>
          <a:xfrm rot="16200000">
            <a:off x="11229457" y="3267418"/>
            <a:ext cx="79375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083E41D-AFDA-A14F-9744-69F240A0560B}" type="slidenum">
              <a:rPr lang="en-US" sz="1500" b="0" i="0" smtClean="0">
                <a:solidFill>
                  <a:schemeClr val="tx1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pPr algn="ctr"/>
              <a:t>‹#›</a:t>
            </a:fld>
            <a:endParaRPr lang="en-US" sz="1500" b="0" i="0" dirty="0">
              <a:solidFill>
                <a:schemeClr val="tx1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14EDC77-1BE8-4341-BDE9-7B15467162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0518" y="2407139"/>
            <a:ext cx="6196428" cy="194174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accent2"/>
              </a:buClr>
              <a:buSzPct val="120000"/>
              <a:buFont typeface="System Font Regular"/>
              <a:buNone/>
              <a:defRPr sz="1800"/>
            </a:lvl1pPr>
            <a:lvl2pPr marL="685800" indent="-228600">
              <a:buFontTx/>
              <a:buBlip>
                <a:blip r:embed="rId3"/>
              </a:buBlip>
              <a:defRPr sz="2000"/>
            </a:lvl2pPr>
            <a:lvl3pPr marL="1143000" indent="-228600">
              <a:buFontTx/>
              <a:buBlip>
                <a:blip r:embed="rId3"/>
              </a:buBlip>
              <a:defRPr sz="2000"/>
            </a:lvl3pPr>
            <a:lvl4pPr marL="1600200" indent="-228600">
              <a:buFontTx/>
              <a:buBlip>
                <a:blip r:embed="rId3"/>
              </a:buBlip>
              <a:defRPr sz="2000"/>
            </a:lvl4pPr>
            <a:lvl5pPr marL="2057400" indent="-228600">
              <a:buFontTx/>
              <a:buBlip>
                <a:blip r:embed="rId3"/>
              </a:buBlip>
              <a:defRPr sz="2000"/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7041500E-CA48-F34A-98E5-D3DA51F225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6385" y="4744198"/>
            <a:ext cx="805601" cy="150868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</a:t>
            </a:r>
            <a:endParaRPr lang="ru-RU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1ACE4F3-7A46-284E-91FF-1D0FE35D08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9500" y="4770324"/>
            <a:ext cx="2208213" cy="150868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71B8773C-FE29-674F-A8D7-5D557E346F01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7021513" y="2508250"/>
            <a:ext cx="4227512" cy="3744913"/>
          </a:xfrm>
        </p:spPr>
        <p:txBody>
          <a:bodyPr/>
          <a:lstStyle/>
          <a:p>
            <a:endParaRPr lang="ru-RU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5BA43669-6830-6642-922A-696672638C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66795" y="4744198"/>
            <a:ext cx="805601" cy="150868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</a:t>
            </a:r>
            <a:endParaRPr lang="ru-RU" dirty="0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7B77F5D4-3B11-3E4C-9925-D0E194F8A76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59910" y="4770324"/>
            <a:ext cx="2204403" cy="150868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0D38ED1B-45E1-714C-9CC2-ECE2649C14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61300" y="513287"/>
            <a:ext cx="2920999" cy="14626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2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D349ED79-BE0C-734D-B679-5DD0073B55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258" y="383933"/>
            <a:ext cx="7132742" cy="1537080"/>
          </a:xfrm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500" b="0" i="0">
                <a:solidFill>
                  <a:schemeClr val="tx1"/>
                </a:solidFill>
                <a:latin typeface="Navigo Medium" panose="02070503070706040303" pitchFamily="18" charset="77"/>
                <a:ea typeface="Navigo Medium" panose="02070503070706040303" pitchFamily="18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Наименование слайда </a:t>
            </a:r>
            <a:br>
              <a:rPr lang="ru-RU" dirty="0"/>
            </a:br>
            <a:r>
              <a:rPr lang="ru-RU" dirty="0"/>
              <a:t>в одну/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40450987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0349F12-DB43-7A4F-9A1D-1E7283C64963}"/>
              </a:ext>
            </a:extLst>
          </p:cNvPr>
          <p:cNvSpPr txBox="1"/>
          <p:nvPr userDrawn="1"/>
        </p:nvSpPr>
        <p:spPr>
          <a:xfrm rot="16200000">
            <a:off x="10622596" y="5191034"/>
            <a:ext cx="20074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0" i="0" dirty="0" err="1">
                <a:solidFill>
                  <a:schemeClr val="accent2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t>kanikurgan.ru</a:t>
            </a:r>
            <a:endParaRPr lang="en-US" sz="1500" b="0" i="0" dirty="0">
              <a:solidFill>
                <a:schemeClr val="accent2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C7532D-1E84-344C-A2BC-D7D316F6CD91}"/>
              </a:ext>
            </a:extLst>
          </p:cNvPr>
          <p:cNvSpPr txBox="1"/>
          <p:nvPr userDrawn="1"/>
        </p:nvSpPr>
        <p:spPr>
          <a:xfrm>
            <a:off x="1066800" y="438443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87D626F-3B17-0247-AFC9-8DE94FFCF6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9025" y="608508"/>
            <a:ext cx="468000" cy="48326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C6D43D7-A08B-624F-B3BD-8649BC436541}"/>
              </a:ext>
            </a:extLst>
          </p:cNvPr>
          <p:cNvSpPr txBox="1"/>
          <p:nvPr userDrawn="1"/>
        </p:nvSpPr>
        <p:spPr>
          <a:xfrm rot="16200000">
            <a:off x="11229457" y="3267418"/>
            <a:ext cx="79375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083E41D-AFDA-A14F-9744-69F240A0560B}" type="slidenum">
              <a:rPr lang="en-US" sz="1500" b="0" i="0" smtClean="0">
                <a:solidFill>
                  <a:schemeClr val="tx1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pPr algn="ctr"/>
              <a:t>‹#›</a:t>
            </a:fld>
            <a:endParaRPr lang="en-US" sz="1500" b="0" i="0" dirty="0">
              <a:solidFill>
                <a:schemeClr val="tx1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CFF2EB9B-CA2D-3C4C-BA7C-A15D1542BB6F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74663" y="2259106"/>
            <a:ext cx="10774362" cy="3975440"/>
          </a:xfrm>
        </p:spPr>
        <p:txBody>
          <a:bodyPr/>
          <a:lstStyle/>
          <a:p>
            <a:endParaRPr lang="ru-RU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E4793A63-2FE7-B74D-B916-AC1443F9AC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61300" y="513287"/>
            <a:ext cx="2920999" cy="14626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27B2A16-1F6D-5F44-A72C-8C5E9711F4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258" y="383933"/>
            <a:ext cx="7132742" cy="1537080"/>
          </a:xfrm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500" b="0" i="0">
                <a:solidFill>
                  <a:schemeClr val="tx1"/>
                </a:solidFill>
                <a:latin typeface="Navigo Medium" panose="02070503070706040303" pitchFamily="18" charset="77"/>
                <a:ea typeface="Navigo Medium" panose="02070503070706040303" pitchFamily="18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Наименование слайда </a:t>
            </a:r>
            <a:br>
              <a:rPr lang="ru-RU" dirty="0"/>
            </a:br>
            <a:r>
              <a:rPr lang="ru-RU" dirty="0"/>
              <a:t>в одну/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34358321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FC7532D-1E84-344C-A2BC-D7D316F6CD91}"/>
              </a:ext>
            </a:extLst>
          </p:cNvPr>
          <p:cNvSpPr txBox="1"/>
          <p:nvPr userDrawn="1"/>
        </p:nvSpPr>
        <p:spPr>
          <a:xfrm>
            <a:off x="1066800" y="438443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E88D793E-AE82-2A41-8147-2D61D139C0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259" y="5558356"/>
            <a:ext cx="3388782" cy="899594"/>
          </a:xfrm>
          <a:ln>
            <a:noFill/>
          </a:ln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  <a:latin typeface="Navigo" panose="02070503070706040303" pitchFamily="18" charset="77"/>
                <a:ea typeface="Navigo" panose="02070503070706040303" pitchFamily="18" charset="77"/>
              </a:defRPr>
            </a:lvl1pPr>
            <a:lvl2pPr marL="45720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+7 (495) 363 89 08</a:t>
            </a:r>
          </a:p>
          <a:p>
            <a:pPr lvl="0"/>
            <a:r>
              <a:rPr lang="en-US" dirty="0"/>
              <a:t>+7 (903) 363 89 08</a:t>
            </a:r>
            <a:endParaRPr lang="ru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BA99B0-0797-274D-A501-77CDA275A6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80186" y="610641"/>
            <a:ext cx="936840" cy="966699"/>
          </a:xfrm>
          <a:prstGeom prst="rect">
            <a:avLst/>
          </a:prstGeom>
        </p:spPr>
      </p:pic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788DF770-FD96-374F-812C-A8921AD29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20729" y="5558356"/>
            <a:ext cx="3388782" cy="899594"/>
          </a:xfrm>
          <a:ln>
            <a:noFill/>
          </a:ln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  <a:latin typeface="Navigo" panose="02070503070706040303" pitchFamily="18" charset="77"/>
                <a:ea typeface="Navigo" panose="02070503070706040303" pitchFamily="18" charset="77"/>
              </a:defRPr>
            </a:lvl1pPr>
            <a:lvl2pPr marL="45720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@</a:t>
            </a:r>
            <a:r>
              <a:rPr lang="en-US" dirty="0" err="1"/>
              <a:t>kanikurgan.ru</a:t>
            </a:r>
            <a:endParaRPr lang="en-US" dirty="0"/>
          </a:p>
          <a:p>
            <a:pPr lvl="0"/>
            <a:r>
              <a:rPr lang="en-US" dirty="0" err="1"/>
              <a:t>info@kanikurgan.ru</a:t>
            </a:r>
            <a:endParaRPr lang="ru-R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0C275E-C4AD-2041-83EF-19A250E6B29C}"/>
              </a:ext>
            </a:extLst>
          </p:cNvPr>
          <p:cNvSpPr txBox="1"/>
          <p:nvPr userDrawn="1"/>
        </p:nvSpPr>
        <p:spPr>
          <a:xfrm rot="16200000">
            <a:off x="10622596" y="5152562"/>
            <a:ext cx="20074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i="0" dirty="0" err="1">
                <a:solidFill>
                  <a:schemeClr val="bg1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t>kanikurgan.ru</a:t>
            </a:r>
            <a:endParaRPr lang="en-US" sz="2000" b="0" i="0" dirty="0">
              <a:solidFill>
                <a:schemeClr val="bg1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387AC54-C21E-BA4C-B31A-2545560E74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258" y="500012"/>
            <a:ext cx="7119065" cy="3940311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6000" b="0" i="0">
                <a:solidFill>
                  <a:schemeClr val="bg1"/>
                </a:solidFill>
                <a:latin typeface="Navigo Medium" panose="02070503070706040303" pitchFamily="18" charset="77"/>
                <a:ea typeface="Navigo Medium" panose="02070503070706040303" pitchFamily="18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21180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779DED-AC2E-AFBB-AD02-018BE96210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03C0007C-AB47-8705-C114-C690673B57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73751A6-A75C-A354-A537-F541AC0A6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24C5D-6C7F-4951-8D67-203872F736B9}" type="datetimeFigureOut">
              <a:rPr lang="ru-RU" smtClean="0"/>
              <a:t>23.08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907F036-32FA-2DC4-10E1-2191232B6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E9BD20A-88C2-D0F1-FFFE-AC2738840B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52FCB1-31BF-4187-A297-3306740EF4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30794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Table of contents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ctrTitle"/>
          </p:nvPr>
        </p:nvSpPr>
        <p:spPr>
          <a:xfrm>
            <a:off x="3033852" y="651200"/>
            <a:ext cx="30024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867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subTitle" idx="1"/>
          </p:nvPr>
        </p:nvSpPr>
        <p:spPr>
          <a:xfrm>
            <a:off x="3494252" y="1204597"/>
            <a:ext cx="25420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>
                <a:solidFill>
                  <a:srgbClr val="000000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title" idx="2" hasCustomPrompt="1"/>
          </p:nvPr>
        </p:nvSpPr>
        <p:spPr>
          <a:xfrm>
            <a:off x="7274533" y="924300"/>
            <a:ext cx="15472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4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1" name="Google Shape;21;p3"/>
          <p:cNvSpPr txBox="1">
            <a:spLocks noGrp="1"/>
          </p:cNvSpPr>
          <p:nvPr>
            <p:ph type="ctrTitle" idx="3"/>
          </p:nvPr>
        </p:nvSpPr>
        <p:spPr>
          <a:xfrm>
            <a:off x="3033852" y="2037133"/>
            <a:ext cx="30024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867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2" name="Google Shape;22;p3"/>
          <p:cNvSpPr txBox="1">
            <a:spLocks noGrp="1"/>
          </p:cNvSpPr>
          <p:nvPr>
            <p:ph type="subTitle" idx="4"/>
          </p:nvPr>
        </p:nvSpPr>
        <p:spPr>
          <a:xfrm>
            <a:off x="3400652" y="2588011"/>
            <a:ext cx="26356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>
                <a:solidFill>
                  <a:srgbClr val="000000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3" name="Google Shape;23;p3"/>
          <p:cNvSpPr txBox="1">
            <a:spLocks noGrp="1"/>
          </p:cNvSpPr>
          <p:nvPr>
            <p:ph type="title" idx="5" hasCustomPrompt="1"/>
          </p:nvPr>
        </p:nvSpPr>
        <p:spPr>
          <a:xfrm>
            <a:off x="7274533" y="2354601"/>
            <a:ext cx="15472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4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4" name="Google Shape;24;p3"/>
          <p:cNvSpPr txBox="1">
            <a:spLocks noGrp="1"/>
          </p:cNvSpPr>
          <p:nvPr>
            <p:ph type="ctrTitle" idx="6"/>
          </p:nvPr>
        </p:nvSpPr>
        <p:spPr>
          <a:xfrm>
            <a:off x="3033852" y="4834812"/>
            <a:ext cx="30024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867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5" name="Google Shape;25;p3"/>
          <p:cNvSpPr txBox="1">
            <a:spLocks noGrp="1"/>
          </p:cNvSpPr>
          <p:nvPr>
            <p:ph type="title" idx="7" hasCustomPrompt="1"/>
          </p:nvPr>
        </p:nvSpPr>
        <p:spPr>
          <a:xfrm>
            <a:off x="7274533" y="3716481"/>
            <a:ext cx="15472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4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6" name="Google Shape;26;p3"/>
          <p:cNvSpPr txBox="1">
            <a:spLocks noGrp="1"/>
          </p:cNvSpPr>
          <p:nvPr>
            <p:ph type="ctrTitle" idx="8"/>
          </p:nvPr>
        </p:nvSpPr>
        <p:spPr>
          <a:xfrm>
            <a:off x="3033852" y="3449876"/>
            <a:ext cx="30024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867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None/>
              <a:defRPr sz="16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title" idx="9" hasCustomPrompt="1"/>
          </p:nvPr>
        </p:nvSpPr>
        <p:spPr>
          <a:xfrm>
            <a:off x="7274533" y="5078333"/>
            <a:ext cx="1547200" cy="770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None/>
              <a:defRPr sz="64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Fira Sans Extra Condensed Medium"/>
              <a:buNone/>
              <a:defRPr sz="6400">
                <a:solidFill>
                  <a:srgbClr val="0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28" name="Google Shape;28;p3"/>
          <p:cNvSpPr txBox="1">
            <a:spLocks noGrp="1"/>
          </p:cNvSpPr>
          <p:nvPr>
            <p:ph type="subTitle" idx="13"/>
          </p:nvPr>
        </p:nvSpPr>
        <p:spPr>
          <a:xfrm>
            <a:off x="3494252" y="5384943"/>
            <a:ext cx="25420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>
                <a:solidFill>
                  <a:srgbClr val="000000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29" name="Google Shape;29;p3"/>
          <p:cNvSpPr txBox="1">
            <a:spLocks noGrp="1"/>
          </p:cNvSpPr>
          <p:nvPr>
            <p:ph type="subTitle" idx="14"/>
          </p:nvPr>
        </p:nvSpPr>
        <p:spPr>
          <a:xfrm>
            <a:off x="3400652" y="3999303"/>
            <a:ext cx="2635600" cy="76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600">
                <a:solidFill>
                  <a:srgbClr val="000000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333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30" name="Google Shape;30;p3"/>
          <p:cNvSpPr txBox="1">
            <a:spLocks noGrp="1"/>
          </p:cNvSpPr>
          <p:nvPr>
            <p:ph type="ctrTitle" idx="15"/>
          </p:nvPr>
        </p:nvSpPr>
        <p:spPr>
          <a:xfrm>
            <a:off x="813969" y="495660"/>
            <a:ext cx="3411200" cy="126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None/>
              <a:defRPr sz="2933"/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None/>
              <a:defRPr sz="2400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33" name="Номер слайда">
            <a:extLst>
              <a:ext uri="{FF2B5EF4-FFF2-40B4-BE49-F238E27FC236}">
                <a16:creationId xmlns:a16="http://schemas.microsoft.com/office/drawing/2014/main" id="{56833376-D510-462A-BF54-003C99A29D9A}"/>
              </a:ext>
            </a:extLst>
          </p:cNvPr>
          <p:cNvSpPr txBox="1">
            <a:spLocks/>
          </p:cNvSpPr>
          <p:nvPr userDrawn="1"/>
        </p:nvSpPr>
        <p:spPr>
          <a:xfrm>
            <a:off x="11205459" y="6292695"/>
            <a:ext cx="486670" cy="492440"/>
          </a:xfrm>
          <a:prstGeom prst="rect">
            <a:avLst/>
          </a:prstGeom>
          <a:ln w="12700">
            <a:miter lim="400000"/>
          </a:ln>
        </p:spPr>
        <p:txBody>
          <a:bodyPr wrap="none" lIns="121919" tIns="121919" rIns="121919" bIns="121919" anchor="ctr">
            <a:spAutoFit/>
          </a:bodyPr>
          <a:lstStyle>
            <a:defPPr marL="0" marR="0" indent="0" algn="l" defTabSz="457189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121921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888888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1pPr>
            <a:lvl2pPr marL="0" marR="0" indent="114297" algn="ctr" defTabSz="41274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5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228595" algn="ctr" defTabSz="41274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5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342892" algn="ctr" defTabSz="41274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5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457189" algn="ctr" defTabSz="41274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5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571486" algn="ctr" defTabSz="41274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5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685783" algn="ctr" defTabSz="41274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5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800080" algn="ctr" defTabSz="41274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5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914377" algn="ctr" defTabSz="41274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5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06345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7880350" y="3435350"/>
            <a:ext cx="3702051" cy="2774951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Изображение"/>
          <p:cNvSpPr>
            <a:spLocks noGrp="1"/>
          </p:cNvSpPr>
          <p:nvPr>
            <p:ph type="pic" sz="quarter" idx="14"/>
          </p:nvPr>
        </p:nvSpPr>
        <p:spPr>
          <a:xfrm>
            <a:off x="7880350" y="476250"/>
            <a:ext cx="3702051" cy="2774951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Изображение"/>
          <p:cNvSpPr>
            <a:spLocks noGrp="1"/>
          </p:cNvSpPr>
          <p:nvPr>
            <p:ph type="pic" idx="15"/>
          </p:nvPr>
        </p:nvSpPr>
        <p:spPr>
          <a:xfrm>
            <a:off x="603251" y="476250"/>
            <a:ext cx="7086600" cy="5734051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6" name="Рисунок 10">
            <a:extLst>
              <a:ext uri="{FF2B5EF4-FFF2-40B4-BE49-F238E27FC236}">
                <a16:creationId xmlns:a16="http://schemas.microsoft.com/office/drawing/2014/main" id="{E526913B-5D5D-4AAE-835E-2B1D24590C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11095731" y="393856"/>
            <a:ext cx="571767" cy="571767"/>
          </a:xfrm>
          <a:prstGeom prst="rect">
            <a:avLst/>
          </a:prstGeom>
        </p:spPr>
      </p:pic>
      <p:sp>
        <p:nvSpPr>
          <p:cNvPr id="7" name="Номер слайда">
            <a:extLst>
              <a:ext uri="{FF2B5EF4-FFF2-40B4-BE49-F238E27FC236}">
                <a16:creationId xmlns:a16="http://schemas.microsoft.com/office/drawing/2014/main" id="{576F68C7-8F56-4737-B7EF-591B4F053B56}"/>
              </a:ext>
            </a:extLst>
          </p:cNvPr>
          <p:cNvSpPr txBox="1">
            <a:spLocks/>
          </p:cNvSpPr>
          <p:nvPr userDrawn="1"/>
        </p:nvSpPr>
        <p:spPr>
          <a:xfrm>
            <a:off x="11205459" y="6292695"/>
            <a:ext cx="486670" cy="492440"/>
          </a:xfrm>
          <a:prstGeom prst="rect">
            <a:avLst/>
          </a:prstGeom>
          <a:ln w="12700">
            <a:miter lim="400000"/>
          </a:ln>
        </p:spPr>
        <p:txBody>
          <a:bodyPr wrap="none" lIns="121919" tIns="121919" rIns="121919" bIns="121919" anchor="ctr">
            <a:spAutoFit/>
          </a:bodyPr>
          <a:lstStyle>
            <a:defPPr marL="0" marR="0" indent="0" algn="l" defTabSz="457189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121921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888888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1pPr>
            <a:lvl2pPr marL="0" marR="0" indent="114297" algn="ctr" defTabSz="41274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5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228595" algn="ctr" defTabSz="41274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5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342892" algn="ctr" defTabSz="41274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5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457189" algn="ctr" defTabSz="41274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5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0" marR="0" indent="571486" algn="ctr" defTabSz="41274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5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0" marR="0" indent="685783" algn="ctr" defTabSz="41274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5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0" marR="0" indent="800080" algn="ctr" defTabSz="41274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5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0" marR="0" indent="914377" algn="ctr" defTabSz="41274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5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469CBFDD-3182-41ED-9924-A103173FBBD8}"/>
              </a:ext>
            </a:extLst>
          </p:cNvPr>
          <p:cNvGrpSpPr/>
          <p:nvPr userDrawn="1"/>
        </p:nvGrpSpPr>
        <p:grpSpPr>
          <a:xfrm>
            <a:off x="10387585" y="5029309"/>
            <a:ext cx="1804412" cy="1828691"/>
            <a:chOff x="20361914" y="9676116"/>
            <a:chExt cx="4022076" cy="4039884"/>
          </a:xfrm>
          <a:solidFill>
            <a:srgbClr val="5AC6CC">
              <a:alpha val="29412"/>
            </a:srgbClr>
          </a:solidFill>
        </p:grpSpPr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B422D288-8A3D-4B2F-8208-85EEB5D796BA}"/>
                </a:ext>
              </a:extLst>
            </p:cNvPr>
            <p:cNvGrpSpPr/>
            <p:nvPr/>
          </p:nvGrpSpPr>
          <p:grpSpPr>
            <a:xfrm>
              <a:off x="20361914" y="11028677"/>
              <a:ext cx="4022076" cy="2687323"/>
              <a:chOff x="17003487" y="8784772"/>
              <a:chExt cx="7380495" cy="4931228"/>
            </a:xfrm>
            <a:grpFill/>
          </p:grpSpPr>
          <p:sp>
            <p:nvSpPr>
              <p:cNvPr id="11" name="Прямоугольный треугольник 10">
                <a:extLst>
                  <a:ext uri="{FF2B5EF4-FFF2-40B4-BE49-F238E27FC236}">
                    <a16:creationId xmlns:a16="http://schemas.microsoft.com/office/drawing/2014/main" id="{5F660DEE-9174-4809-801A-B82B84B7B96B}"/>
                  </a:ext>
                </a:extLst>
              </p:cNvPr>
              <p:cNvSpPr/>
              <p:nvPr/>
            </p:nvSpPr>
            <p:spPr>
              <a:xfrm>
                <a:off x="19452772" y="11266715"/>
                <a:ext cx="2449285" cy="2449285"/>
              </a:xfrm>
              <a:prstGeom prst="rtTriangle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ru-RU" sz="36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  <p:sp>
            <p:nvSpPr>
              <p:cNvPr id="12" name="Прямоугольник 11">
                <a:extLst>
                  <a:ext uri="{FF2B5EF4-FFF2-40B4-BE49-F238E27FC236}">
                    <a16:creationId xmlns:a16="http://schemas.microsoft.com/office/drawing/2014/main" id="{F7B68625-521D-4ECB-A65B-1A54E27F18A1}"/>
                  </a:ext>
                </a:extLst>
              </p:cNvPr>
              <p:cNvSpPr/>
              <p:nvPr/>
            </p:nvSpPr>
            <p:spPr>
              <a:xfrm>
                <a:off x="21902039" y="11234057"/>
                <a:ext cx="2481943" cy="2481943"/>
              </a:xfrm>
              <a:prstGeom prst="rect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ru-RU" sz="36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  <p:sp>
            <p:nvSpPr>
              <p:cNvPr id="13" name="Прямоугольный треугольник 12">
                <a:extLst>
                  <a:ext uri="{FF2B5EF4-FFF2-40B4-BE49-F238E27FC236}">
                    <a16:creationId xmlns:a16="http://schemas.microsoft.com/office/drawing/2014/main" id="{09333406-3C76-4ECF-8C86-3404346F7F45}"/>
                  </a:ext>
                </a:extLst>
              </p:cNvPr>
              <p:cNvSpPr/>
              <p:nvPr/>
            </p:nvSpPr>
            <p:spPr>
              <a:xfrm>
                <a:off x="17003487" y="11266714"/>
                <a:ext cx="2449285" cy="2449285"/>
              </a:xfrm>
              <a:prstGeom prst="rtTriangle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ru-RU" sz="36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  <p:sp>
            <p:nvSpPr>
              <p:cNvPr id="14" name="Прямоугольный треугольник 13">
                <a:extLst>
                  <a:ext uri="{FF2B5EF4-FFF2-40B4-BE49-F238E27FC236}">
                    <a16:creationId xmlns:a16="http://schemas.microsoft.com/office/drawing/2014/main" id="{3B446665-65BC-42F4-9E70-571DF90D7588}"/>
                  </a:ext>
                </a:extLst>
              </p:cNvPr>
              <p:cNvSpPr/>
              <p:nvPr/>
            </p:nvSpPr>
            <p:spPr>
              <a:xfrm rot="16200000">
                <a:off x="17003487" y="8784772"/>
                <a:ext cx="2449285" cy="2449285"/>
              </a:xfrm>
              <a:prstGeom prst="rtTriangle">
                <a:avLst/>
              </a:prstGeom>
              <a:grp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ru-RU" sz="36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Light"/>
                </a:endParaRPr>
              </a:p>
            </p:txBody>
          </p:sp>
        </p:grpSp>
        <p:sp>
          <p:nvSpPr>
            <p:cNvPr id="10" name="Прямоугольный треугольник 9">
              <a:extLst>
                <a:ext uri="{FF2B5EF4-FFF2-40B4-BE49-F238E27FC236}">
                  <a16:creationId xmlns:a16="http://schemas.microsoft.com/office/drawing/2014/main" id="{BD163930-1D64-4FD1-9436-5400D01D1845}"/>
                </a:ext>
              </a:extLst>
            </p:cNvPr>
            <p:cNvSpPr/>
            <p:nvPr/>
          </p:nvSpPr>
          <p:spPr>
            <a:xfrm>
              <a:off x="20361914" y="9676116"/>
              <a:ext cx="1334762" cy="1334762"/>
            </a:xfrm>
            <a:prstGeom prst="rtTriangle">
              <a:avLst/>
            </a:prstGeom>
            <a:grp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36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3668760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4395458D-9AFD-2D41-81C7-542879BC60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95" t="12727" r="3134" b="1212"/>
          <a:stretch/>
        </p:blipFill>
        <p:spPr>
          <a:xfrm flipH="1">
            <a:off x="947738" y="0"/>
            <a:ext cx="11244262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EB15E6C-7382-3F47-A67E-0C0C3B5819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1731" t="37936" r="631" b="27937"/>
          <a:stretch/>
        </p:blipFill>
        <p:spPr>
          <a:xfrm>
            <a:off x="0" y="0"/>
            <a:ext cx="10309225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66798EF-6CC7-AA4C-907E-3F5C640D68E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9212" y="620713"/>
            <a:ext cx="3527242" cy="46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0349F12-DB43-7A4F-9A1D-1E7283C64963}"/>
              </a:ext>
            </a:extLst>
          </p:cNvPr>
          <p:cNvSpPr txBox="1"/>
          <p:nvPr userDrawn="1"/>
        </p:nvSpPr>
        <p:spPr>
          <a:xfrm rot="16200000">
            <a:off x="10622596" y="5152562"/>
            <a:ext cx="20074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i="0" dirty="0" err="1">
                <a:solidFill>
                  <a:schemeClr val="bg1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t>kanikurgan.ru</a:t>
            </a:r>
            <a:endParaRPr lang="en-US" sz="2000" b="0" i="0" dirty="0">
              <a:solidFill>
                <a:schemeClr val="bg1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4581429-EC23-4145-BB79-6DDA1FB0E6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10450203" y="1501949"/>
            <a:ext cx="2368550" cy="416408"/>
          </a:xfrm>
          <a:ln>
            <a:noFill/>
          </a:ln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2000" b="0" i="0">
                <a:ln>
                  <a:noFill/>
                </a:ln>
                <a:solidFill>
                  <a:schemeClr val="bg1"/>
                </a:solidFill>
                <a:latin typeface="Navigo" panose="02070503070706040303" pitchFamily="18" charset="77"/>
                <a:ea typeface="Navigo" panose="02070503070706040303" pitchFamily="18" charset="77"/>
              </a:defRPr>
            </a:lvl1pPr>
            <a:lvl2pPr marL="457200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400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600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800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наши услуги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C7532D-1E84-344C-A2BC-D7D316F6CD91}"/>
              </a:ext>
            </a:extLst>
          </p:cNvPr>
          <p:cNvSpPr txBox="1"/>
          <p:nvPr userDrawn="1"/>
        </p:nvSpPr>
        <p:spPr>
          <a:xfrm>
            <a:off x="1066800" y="438443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4DD7F46F-4452-C444-ADA3-09816096D40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257" y="3897313"/>
            <a:ext cx="7119065" cy="277744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6000" b="0" i="0">
                <a:solidFill>
                  <a:schemeClr val="bg1"/>
                </a:solidFill>
                <a:latin typeface="Navigo Medium" panose="02070503070706040303" pitchFamily="18" charset="77"/>
                <a:ea typeface="Navigo Medium" panose="02070503070706040303" pitchFamily="18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 </a:t>
            </a:r>
            <a:endParaRPr lang="ru-RU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50DED6CF-7148-834D-AE25-20954C3533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/>
          </a:blip>
          <a:srcRect l="14619" t="12978" r="34569"/>
          <a:stretch/>
        </p:blipFill>
        <p:spPr>
          <a:xfrm flipH="1">
            <a:off x="4691062" y="0"/>
            <a:ext cx="6095246" cy="6959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7742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AD24E23-74F2-BE4F-8F36-9A6127B770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39952" r="7522"/>
          <a:stretch/>
        </p:blipFill>
        <p:spPr>
          <a:xfrm>
            <a:off x="4986049" y="-1"/>
            <a:ext cx="7205951" cy="6237287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6135F98-4020-9D43-969D-268C57BC3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258" y="2966053"/>
            <a:ext cx="7119065" cy="2777445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6000" b="0" i="0">
                <a:solidFill>
                  <a:schemeClr val="bg1"/>
                </a:solidFill>
                <a:latin typeface="Navigo Medium" panose="02070503070706040303" pitchFamily="18" charset="77"/>
                <a:ea typeface="Navigo Medium" panose="02070503070706040303" pitchFamily="18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 </a:t>
            </a:r>
            <a:endParaRPr lang="ru-RU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6798EF-6CC7-AA4C-907E-3F5C640D68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9212" y="620713"/>
            <a:ext cx="3527242" cy="46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0349F12-DB43-7A4F-9A1D-1E7283C64963}"/>
              </a:ext>
            </a:extLst>
          </p:cNvPr>
          <p:cNvSpPr txBox="1"/>
          <p:nvPr userDrawn="1"/>
        </p:nvSpPr>
        <p:spPr>
          <a:xfrm rot="16200000">
            <a:off x="10622596" y="5152562"/>
            <a:ext cx="20074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i="0" dirty="0" err="1">
                <a:solidFill>
                  <a:schemeClr val="bg1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t>kanikurgan.ru</a:t>
            </a:r>
            <a:endParaRPr lang="en-US" sz="2000" b="0" i="0" dirty="0">
              <a:solidFill>
                <a:schemeClr val="bg1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4581429-EC23-4145-BB79-6DDA1FB0E6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16200000">
            <a:off x="10450203" y="1501949"/>
            <a:ext cx="2368550" cy="416408"/>
          </a:xfrm>
          <a:ln>
            <a:noFill/>
          </a:ln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2000" b="0" i="0">
                <a:ln>
                  <a:noFill/>
                </a:ln>
                <a:solidFill>
                  <a:schemeClr val="bg2"/>
                </a:solidFill>
                <a:latin typeface="Navigo" panose="02070503070706040303" pitchFamily="18" charset="77"/>
                <a:ea typeface="Navigo" panose="02070503070706040303" pitchFamily="18" charset="77"/>
              </a:defRPr>
            </a:lvl1pPr>
            <a:lvl2pPr marL="457200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2pPr>
            <a:lvl3pPr marL="914400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3pPr>
            <a:lvl4pPr marL="1371600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4pPr>
            <a:lvl5pPr marL="1828800" indent="0">
              <a:buNone/>
              <a:defRPr>
                <a:ln>
                  <a:noFill/>
                </a:ln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наши услуги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C7532D-1E84-344C-A2BC-D7D316F6CD91}"/>
              </a:ext>
            </a:extLst>
          </p:cNvPr>
          <p:cNvSpPr txBox="1"/>
          <p:nvPr userDrawn="1"/>
        </p:nvSpPr>
        <p:spPr>
          <a:xfrm>
            <a:off x="1066800" y="438443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E88D793E-AE82-2A41-8147-2D61D139C0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0258" y="5886714"/>
            <a:ext cx="5267325" cy="501650"/>
          </a:xfrm>
          <a:ln>
            <a:noFill/>
          </a:ln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500" b="0" i="0">
                <a:solidFill>
                  <a:schemeClr val="bg1"/>
                </a:solidFill>
                <a:latin typeface="Navigo" panose="02070503070706040303" pitchFamily="18" charset="77"/>
                <a:ea typeface="Navigo" panose="02070503070706040303" pitchFamily="18" charset="77"/>
              </a:defRPr>
            </a:lvl1pPr>
            <a:lvl2pPr marL="45720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80352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1504DD1-12BF-1341-B8D9-C82E03980B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7541" t="37501" b="20223"/>
          <a:stretch/>
        </p:blipFill>
        <p:spPr>
          <a:xfrm>
            <a:off x="-4762" y="0"/>
            <a:ext cx="11249025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6135F98-4020-9D43-969D-268C57BC3F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258" y="1446354"/>
            <a:ext cx="7119065" cy="3940311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6000" b="0" i="0">
                <a:solidFill>
                  <a:schemeClr val="bg1"/>
                </a:solidFill>
                <a:latin typeface="Navigo Medium" panose="02070503070706040303" pitchFamily="18" charset="77"/>
                <a:ea typeface="Navigo Medium" panose="02070503070706040303" pitchFamily="18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 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349F12-DB43-7A4F-9A1D-1E7283C64963}"/>
              </a:ext>
            </a:extLst>
          </p:cNvPr>
          <p:cNvSpPr txBox="1"/>
          <p:nvPr userDrawn="1"/>
        </p:nvSpPr>
        <p:spPr>
          <a:xfrm rot="16200000">
            <a:off x="10622596" y="5191034"/>
            <a:ext cx="20074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0" i="0" dirty="0" err="1">
                <a:solidFill>
                  <a:schemeClr val="bg1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t>kanikurgan.ru</a:t>
            </a:r>
            <a:endParaRPr lang="en-US" sz="1500" b="0" i="0" dirty="0">
              <a:solidFill>
                <a:schemeClr val="bg1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C7532D-1E84-344C-A2BC-D7D316F6CD91}"/>
              </a:ext>
            </a:extLst>
          </p:cNvPr>
          <p:cNvSpPr txBox="1"/>
          <p:nvPr userDrawn="1"/>
        </p:nvSpPr>
        <p:spPr>
          <a:xfrm>
            <a:off x="1066800" y="438443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E88D793E-AE82-2A41-8147-2D61D139C0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6116" y="503036"/>
            <a:ext cx="5267325" cy="501650"/>
          </a:xfrm>
          <a:ln>
            <a:noFill/>
          </a:ln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  <a:latin typeface="Navigo" panose="02070503070706040303" pitchFamily="18" charset="77"/>
                <a:ea typeface="Navigo" panose="02070503070706040303" pitchFamily="18" charset="77"/>
              </a:defRPr>
            </a:lvl1pPr>
            <a:lvl2pPr marL="45720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2pPr>
            <a:lvl3pPr marL="91440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2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BA99B0-0797-274D-A501-77CDA275A6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49025" y="610642"/>
            <a:ext cx="468000" cy="482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432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0349F12-DB43-7A4F-9A1D-1E7283C64963}"/>
              </a:ext>
            </a:extLst>
          </p:cNvPr>
          <p:cNvSpPr txBox="1"/>
          <p:nvPr userDrawn="1"/>
        </p:nvSpPr>
        <p:spPr>
          <a:xfrm rot="16200000">
            <a:off x="10622596" y="5191034"/>
            <a:ext cx="20074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0" i="0" dirty="0" err="1">
                <a:solidFill>
                  <a:schemeClr val="accent2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t>kanikurgan.ru</a:t>
            </a:r>
            <a:endParaRPr lang="en-US" sz="1500" b="0" i="0" dirty="0">
              <a:solidFill>
                <a:schemeClr val="accent2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C7532D-1E84-344C-A2BC-D7D316F6CD91}"/>
              </a:ext>
            </a:extLst>
          </p:cNvPr>
          <p:cNvSpPr txBox="1"/>
          <p:nvPr userDrawn="1"/>
        </p:nvSpPr>
        <p:spPr>
          <a:xfrm>
            <a:off x="1066800" y="438443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6D43D7-A08B-624F-B3BD-8649BC436541}"/>
              </a:ext>
            </a:extLst>
          </p:cNvPr>
          <p:cNvSpPr txBox="1"/>
          <p:nvPr userDrawn="1"/>
        </p:nvSpPr>
        <p:spPr>
          <a:xfrm rot="16200000">
            <a:off x="11229457" y="3267418"/>
            <a:ext cx="79375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083E41D-AFDA-A14F-9744-69F240A0560B}" type="slidenum">
              <a:rPr lang="en-US" sz="1500" b="0" i="0" smtClean="0">
                <a:solidFill>
                  <a:schemeClr val="tx1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pPr algn="ctr"/>
              <a:t>‹#›</a:t>
            </a:fld>
            <a:endParaRPr lang="en-US" sz="1500" b="0" i="0" dirty="0">
              <a:solidFill>
                <a:schemeClr val="tx1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370003D-E327-C246-88AD-8B106268C3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8300" y="2369932"/>
            <a:ext cx="7137400" cy="38320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5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45BB9E4-793F-6D48-A310-EFE16F0C84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61300" y="2409688"/>
            <a:ext cx="3387725" cy="379232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D2EC7EFC-A090-7248-BCEE-E836BF4F9C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258" y="383933"/>
            <a:ext cx="7132742" cy="1537080"/>
          </a:xfrm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500" b="0" i="0">
                <a:solidFill>
                  <a:schemeClr val="tx1"/>
                </a:solidFill>
                <a:latin typeface="Navigo Medium" panose="02070503070706040303" pitchFamily="18" charset="77"/>
                <a:ea typeface="Navigo Medium" panose="02070503070706040303" pitchFamily="18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Наименование слайда </a:t>
            </a:r>
            <a:br>
              <a:rPr lang="ru-RU" dirty="0"/>
            </a:br>
            <a:r>
              <a:rPr lang="ru-RU" dirty="0"/>
              <a:t>в одну/две строки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D7F89BE-8BE9-42A1-8EED-C4B456E8C6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74926" y="608509"/>
            <a:ext cx="468001" cy="485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433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D8E9B391-4DDE-F74A-AE78-37E82189F9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381" t="17930" r="-9" b="32539"/>
          <a:stretch/>
        </p:blipFill>
        <p:spPr>
          <a:xfrm>
            <a:off x="0" y="-1"/>
            <a:ext cx="12268200" cy="7056785"/>
          </a:xfrm>
          <a:prstGeom prst="rect">
            <a:avLst/>
          </a:prstGeom>
        </p:spPr>
      </p:pic>
      <p:sp>
        <p:nvSpPr>
          <p:cNvPr id="11" name="Freeform 10">
            <a:extLst>
              <a:ext uri="{FF2B5EF4-FFF2-40B4-BE49-F238E27FC236}">
                <a16:creationId xmlns:a16="http://schemas.microsoft.com/office/drawing/2014/main" id="{60E3B3A4-17A9-ED41-9EAF-DFCCA6E1EFC9}"/>
              </a:ext>
            </a:extLst>
          </p:cNvPr>
          <p:cNvSpPr/>
          <p:nvPr userDrawn="1"/>
        </p:nvSpPr>
        <p:spPr>
          <a:xfrm>
            <a:off x="-76200" y="-99390"/>
            <a:ext cx="12344400" cy="7156174"/>
          </a:xfrm>
          <a:custGeom>
            <a:avLst/>
            <a:gdLst>
              <a:gd name="connsiteX0" fmla="*/ 0 w 12344400"/>
              <a:gd name="connsiteY0" fmla="*/ 2464904 h 7156174"/>
              <a:gd name="connsiteX1" fmla="*/ 3876261 w 12344400"/>
              <a:gd name="connsiteY1" fmla="*/ 6341165 h 7156174"/>
              <a:gd name="connsiteX2" fmla="*/ 10833652 w 12344400"/>
              <a:gd name="connsiteY2" fmla="*/ 6341165 h 7156174"/>
              <a:gd name="connsiteX3" fmla="*/ 10833652 w 12344400"/>
              <a:gd name="connsiteY3" fmla="*/ 0 h 7156174"/>
              <a:gd name="connsiteX4" fmla="*/ 12344400 w 12344400"/>
              <a:gd name="connsiteY4" fmla="*/ 0 h 7156174"/>
              <a:gd name="connsiteX5" fmla="*/ 12344400 w 12344400"/>
              <a:gd name="connsiteY5" fmla="*/ 6897756 h 7156174"/>
              <a:gd name="connsiteX6" fmla="*/ 12344400 w 12344400"/>
              <a:gd name="connsiteY6" fmla="*/ 6897756 h 7156174"/>
              <a:gd name="connsiteX7" fmla="*/ 12344400 w 12344400"/>
              <a:gd name="connsiteY7" fmla="*/ 6897756 h 7156174"/>
              <a:gd name="connsiteX8" fmla="*/ 12344400 w 12344400"/>
              <a:gd name="connsiteY8" fmla="*/ 6897756 h 7156174"/>
              <a:gd name="connsiteX9" fmla="*/ 12344400 w 12344400"/>
              <a:gd name="connsiteY9" fmla="*/ 7156174 h 7156174"/>
              <a:gd name="connsiteX10" fmla="*/ 19878 w 12344400"/>
              <a:gd name="connsiteY10" fmla="*/ 7156174 h 7156174"/>
              <a:gd name="connsiteX11" fmla="*/ 0 w 12344400"/>
              <a:gd name="connsiteY11" fmla="*/ 2464904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344400" h="7156174">
                <a:moveTo>
                  <a:pt x="0" y="2464904"/>
                </a:moveTo>
                <a:lnTo>
                  <a:pt x="3876261" y="6341165"/>
                </a:lnTo>
                <a:lnTo>
                  <a:pt x="10833652" y="6341165"/>
                </a:lnTo>
                <a:lnTo>
                  <a:pt x="10833652" y="0"/>
                </a:lnTo>
                <a:lnTo>
                  <a:pt x="12344400" y="0"/>
                </a:lnTo>
                <a:lnTo>
                  <a:pt x="12344400" y="6897756"/>
                </a:lnTo>
                <a:lnTo>
                  <a:pt x="12344400" y="6897756"/>
                </a:lnTo>
                <a:lnTo>
                  <a:pt x="12344400" y="6897756"/>
                </a:lnTo>
                <a:lnTo>
                  <a:pt x="12344400" y="6897756"/>
                </a:lnTo>
                <a:lnTo>
                  <a:pt x="12344400" y="7156174"/>
                </a:lnTo>
                <a:lnTo>
                  <a:pt x="19878" y="7156174"/>
                </a:lnTo>
                <a:lnTo>
                  <a:pt x="0" y="2464904"/>
                </a:lnTo>
                <a:close/>
              </a:path>
            </a:pathLst>
          </a:custGeom>
          <a:gradFill>
            <a:gsLst>
              <a:gs pos="0">
                <a:schemeClr val="tx1"/>
              </a:gs>
              <a:gs pos="50000">
                <a:schemeClr val="tx2"/>
              </a:gs>
              <a:gs pos="10000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3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349F12-DB43-7A4F-9A1D-1E7283C64963}"/>
              </a:ext>
            </a:extLst>
          </p:cNvPr>
          <p:cNvSpPr txBox="1"/>
          <p:nvPr userDrawn="1"/>
        </p:nvSpPr>
        <p:spPr>
          <a:xfrm rot="16200000">
            <a:off x="10622596" y="5191034"/>
            <a:ext cx="20074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0" i="0" dirty="0" err="1">
                <a:solidFill>
                  <a:schemeClr val="bg1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t>kanikurgan.ru</a:t>
            </a:r>
            <a:endParaRPr lang="en-US" sz="1500" b="0" i="0" dirty="0">
              <a:solidFill>
                <a:schemeClr val="bg1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C7532D-1E84-344C-A2BC-D7D316F6CD91}"/>
              </a:ext>
            </a:extLst>
          </p:cNvPr>
          <p:cNvSpPr txBox="1"/>
          <p:nvPr userDrawn="1"/>
        </p:nvSpPr>
        <p:spPr>
          <a:xfrm>
            <a:off x="1066800" y="438443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6D43D7-A08B-624F-B3BD-8649BC436541}"/>
              </a:ext>
            </a:extLst>
          </p:cNvPr>
          <p:cNvSpPr txBox="1"/>
          <p:nvPr userDrawn="1"/>
        </p:nvSpPr>
        <p:spPr>
          <a:xfrm rot="16200000">
            <a:off x="11229457" y="3267418"/>
            <a:ext cx="79375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083E41D-AFDA-A14F-9744-69F240A0560B}" type="slidenum">
              <a:rPr lang="en-US" sz="1500" b="0" i="0" smtClean="0">
                <a:solidFill>
                  <a:schemeClr val="bg1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pPr algn="ctr"/>
              <a:t>‹#›</a:t>
            </a:fld>
            <a:endParaRPr lang="en-US" sz="1500" b="0" i="0" dirty="0">
              <a:solidFill>
                <a:schemeClr val="bg1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DF9F7E7-393E-E741-A53F-87CCE7B637D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49025" y="610642"/>
            <a:ext cx="468000" cy="482916"/>
          </a:xfrm>
          <a:prstGeom prst="rect">
            <a:avLst/>
          </a:prstGeom>
        </p:spPr>
      </p:pic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A2BBCC05-99D8-0042-8134-7132EE471C8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0015" y="5219653"/>
            <a:ext cx="2450176" cy="101763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6D37344-473B-4445-ABAD-06245523B22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258" y="383933"/>
            <a:ext cx="7132742" cy="1537080"/>
          </a:xfrm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500" b="0" i="0">
                <a:solidFill>
                  <a:schemeClr val="bg1"/>
                </a:solidFill>
                <a:latin typeface="Navigo Medium" panose="02070503070706040303" pitchFamily="18" charset="77"/>
                <a:ea typeface="Navigo Medium" panose="02070503070706040303" pitchFamily="18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Наименование слайда </a:t>
            </a:r>
            <a:br>
              <a:rPr lang="ru-RU" dirty="0"/>
            </a:br>
            <a:r>
              <a:rPr lang="ru-RU" dirty="0"/>
              <a:t>в одну/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2828903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D8E9B391-4DDE-F74A-AE78-37E82189F9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381" t="17930" r="-9" b="32539"/>
          <a:stretch/>
        </p:blipFill>
        <p:spPr>
          <a:xfrm>
            <a:off x="0" y="-1"/>
            <a:ext cx="12268200" cy="7056785"/>
          </a:xfrm>
          <a:prstGeom prst="rect">
            <a:avLst/>
          </a:prstGeom>
        </p:spPr>
      </p:pic>
      <p:sp>
        <p:nvSpPr>
          <p:cNvPr id="11" name="Freeform 10">
            <a:extLst>
              <a:ext uri="{FF2B5EF4-FFF2-40B4-BE49-F238E27FC236}">
                <a16:creationId xmlns:a16="http://schemas.microsoft.com/office/drawing/2014/main" id="{60E3B3A4-17A9-ED41-9EAF-DFCCA6E1EFC9}"/>
              </a:ext>
            </a:extLst>
          </p:cNvPr>
          <p:cNvSpPr/>
          <p:nvPr userDrawn="1"/>
        </p:nvSpPr>
        <p:spPr>
          <a:xfrm>
            <a:off x="-76200" y="-99390"/>
            <a:ext cx="12344400" cy="7156174"/>
          </a:xfrm>
          <a:custGeom>
            <a:avLst/>
            <a:gdLst>
              <a:gd name="connsiteX0" fmla="*/ 0 w 12344400"/>
              <a:gd name="connsiteY0" fmla="*/ 2464904 h 7156174"/>
              <a:gd name="connsiteX1" fmla="*/ 3876261 w 12344400"/>
              <a:gd name="connsiteY1" fmla="*/ 6341165 h 7156174"/>
              <a:gd name="connsiteX2" fmla="*/ 10833652 w 12344400"/>
              <a:gd name="connsiteY2" fmla="*/ 6341165 h 7156174"/>
              <a:gd name="connsiteX3" fmla="*/ 10833652 w 12344400"/>
              <a:gd name="connsiteY3" fmla="*/ 0 h 7156174"/>
              <a:gd name="connsiteX4" fmla="*/ 12344400 w 12344400"/>
              <a:gd name="connsiteY4" fmla="*/ 0 h 7156174"/>
              <a:gd name="connsiteX5" fmla="*/ 12344400 w 12344400"/>
              <a:gd name="connsiteY5" fmla="*/ 6897756 h 7156174"/>
              <a:gd name="connsiteX6" fmla="*/ 12344400 w 12344400"/>
              <a:gd name="connsiteY6" fmla="*/ 6897756 h 7156174"/>
              <a:gd name="connsiteX7" fmla="*/ 12344400 w 12344400"/>
              <a:gd name="connsiteY7" fmla="*/ 6897756 h 7156174"/>
              <a:gd name="connsiteX8" fmla="*/ 12344400 w 12344400"/>
              <a:gd name="connsiteY8" fmla="*/ 6897756 h 7156174"/>
              <a:gd name="connsiteX9" fmla="*/ 12344400 w 12344400"/>
              <a:gd name="connsiteY9" fmla="*/ 7156174 h 7156174"/>
              <a:gd name="connsiteX10" fmla="*/ 19878 w 12344400"/>
              <a:gd name="connsiteY10" fmla="*/ 7156174 h 7156174"/>
              <a:gd name="connsiteX11" fmla="*/ 0 w 12344400"/>
              <a:gd name="connsiteY11" fmla="*/ 2464904 h 7156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344400" h="7156174">
                <a:moveTo>
                  <a:pt x="0" y="2464904"/>
                </a:moveTo>
                <a:lnTo>
                  <a:pt x="3876261" y="6341165"/>
                </a:lnTo>
                <a:lnTo>
                  <a:pt x="10833652" y="6341165"/>
                </a:lnTo>
                <a:lnTo>
                  <a:pt x="10833652" y="0"/>
                </a:lnTo>
                <a:lnTo>
                  <a:pt x="12344400" y="0"/>
                </a:lnTo>
                <a:lnTo>
                  <a:pt x="12344400" y="6897756"/>
                </a:lnTo>
                <a:lnTo>
                  <a:pt x="12344400" y="6897756"/>
                </a:lnTo>
                <a:lnTo>
                  <a:pt x="12344400" y="6897756"/>
                </a:lnTo>
                <a:lnTo>
                  <a:pt x="12344400" y="6897756"/>
                </a:lnTo>
                <a:lnTo>
                  <a:pt x="12344400" y="7156174"/>
                </a:lnTo>
                <a:lnTo>
                  <a:pt x="19878" y="7156174"/>
                </a:lnTo>
                <a:lnTo>
                  <a:pt x="0" y="24649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C7532D-1E84-344C-A2BC-D7D316F6CD91}"/>
              </a:ext>
            </a:extLst>
          </p:cNvPr>
          <p:cNvSpPr txBox="1"/>
          <p:nvPr userDrawn="1"/>
        </p:nvSpPr>
        <p:spPr>
          <a:xfrm>
            <a:off x="1066800" y="438443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A2BBCC05-99D8-0042-8134-7132EE471C8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0137" y="5239531"/>
            <a:ext cx="2450176" cy="99775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3ADAAC4-A1C5-7A45-BC27-CE6F2167CCD6}"/>
              </a:ext>
            </a:extLst>
          </p:cNvPr>
          <p:cNvSpPr txBox="1"/>
          <p:nvPr userDrawn="1"/>
        </p:nvSpPr>
        <p:spPr>
          <a:xfrm rot="16200000">
            <a:off x="10622596" y="5191034"/>
            <a:ext cx="20074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0" i="0" dirty="0" err="1">
                <a:solidFill>
                  <a:schemeClr val="accent2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t>kanikurgan.ru</a:t>
            </a:r>
            <a:endParaRPr lang="en-US" sz="1500" b="0" i="0" dirty="0">
              <a:solidFill>
                <a:schemeClr val="accent2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2057BE4-87A0-CD4B-ABF8-B5F22FA246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49025" y="608508"/>
            <a:ext cx="468000" cy="48326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1859099-719A-D244-87C0-7E87A14CB460}"/>
              </a:ext>
            </a:extLst>
          </p:cNvPr>
          <p:cNvSpPr txBox="1"/>
          <p:nvPr userDrawn="1"/>
        </p:nvSpPr>
        <p:spPr>
          <a:xfrm rot="16200000">
            <a:off x="11229457" y="3267418"/>
            <a:ext cx="79375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083E41D-AFDA-A14F-9744-69F240A0560B}" type="slidenum">
              <a:rPr lang="en-US" sz="1500" b="0" i="0" smtClean="0">
                <a:solidFill>
                  <a:schemeClr val="tx1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pPr algn="ctr"/>
              <a:t>‹#›</a:t>
            </a:fld>
            <a:endParaRPr lang="en-US" sz="1500" b="0" i="0" dirty="0">
              <a:solidFill>
                <a:schemeClr val="tx1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D6861D8-828D-ED4C-B1F1-84C84197E7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258" y="383933"/>
            <a:ext cx="7132742" cy="1537080"/>
          </a:xfrm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500" b="0" i="0">
                <a:solidFill>
                  <a:schemeClr val="bg1"/>
                </a:solidFill>
                <a:latin typeface="Navigo Medium" panose="02070503070706040303" pitchFamily="18" charset="77"/>
                <a:ea typeface="Navigo Medium" panose="02070503070706040303" pitchFamily="18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Наименование слайда </a:t>
            </a:r>
            <a:br>
              <a:rPr lang="ru-RU" dirty="0"/>
            </a:br>
            <a:r>
              <a:rPr lang="ru-RU" dirty="0"/>
              <a:t>в одну/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5422871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0349F12-DB43-7A4F-9A1D-1E7283C64963}"/>
              </a:ext>
            </a:extLst>
          </p:cNvPr>
          <p:cNvSpPr txBox="1"/>
          <p:nvPr userDrawn="1"/>
        </p:nvSpPr>
        <p:spPr>
          <a:xfrm rot="16200000">
            <a:off x="10622596" y="5191034"/>
            <a:ext cx="20074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0" i="0" dirty="0" err="1">
                <a:solidFill>
                  <a:schemeClr val="accent2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t>kanikurgan.ru</a:t>
            </a:r>
            <a:endParaRPr lang="en-US" sz="1500" b="0" i="0" dirty="0">
              <a:solidFill>
                <a:schemeClr val="accent2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C7532D-1E84-344C-A2BC-D7D316F6CD91}"/>
              </a:ext>
            </a:extLst>
          </p:cNvPr>
          <p:cNvSpPr txBox="1"/>
          <p:nvPr userDrawn="1"/>
        </p:nvSpPr>
        <p:spPr>
          <a:xfrm>
            <a:off x="1066800" y="438443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87D626F-3B17-0247-AFC9-8DE94FFCF6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9025" y="608508"/>
            <a:ext cx="468000" cy="48326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C6D43D7-A08B-624F-B3BD-8649BC436541}"/>
              </a:ext>
            </a:extLst>
          </p:cNvPr>
          <p:cNvSpPr txBox="1"/>
          <p:nvPr userDrawn="1"/>
        </p:nvSpPr>
        <p:spPr>
          <a:xfrm rot="16200000">
            <a:off x="11229457" y="3267418"/>
            <a:ext cx="79375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083E41D-AFDA-A14F-9744-69F240A0560B}" type="slidenum">
              <a:rPr lang="en-US" sz="1500" b="0" i="0" smtClean="0">
                <a:solidFill>
                  <a:schemeClr val="tx1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pPr algn="ctr"/>
              <a:t>‹#›</a:t>
            </a:fld>
            <a:endParaRPr lang="en-US" sz="1500" b="0" i="0" dirty="0">
              <a:solidFill>
                <a:schemeClr val="tx1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C55C74-2DF8-AC41-BC37-B59D12AB2D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3300" y="2489200"/>
            <a:ext cx="5165725" cy="3721100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14EDC77-1BE8-4341-BDE9-7B15467162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8620" y="2397760"/>
            <a:ext cx="5308600" cy="3721100"/>
          </a:xfr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accent2"/>
              </a:buClr>
              <a:buSzPct val="100000"/>
              <a:buFont typeface="Wingdings" pitchFamily="2" charset="2"/>
              <a:buChar char="§"/>
              <a:defRPr sz="1600"/>
            </a:lvl1pPr>
            <a:lvl2pPr marL="685800" indent="-228600">
              <a:buFontTx/>
              <a:buBlip>
                <a:blip r:embed="rId3"/>
              </a:buBlip>
              <a:defRPr sz="2000"/>
            </a:lvl2pPr>
            <a:lvl3pPr marL="1143000" indent="-228600">
              <a:buFontTx/>
              <a:buBlip>
                <a:blip r:embed="rId3"/>
              </a:buBlip>
              <a:defRPr sz="2000"/>
            </a:lvl3pPr>
            <a:lvl4pPr marL="1600200" indent="-228600">
              <a:buFontTx/>
              <a:buBlip>
                <a:blip r:embed="rId3"/>
              </a:buBlip>
              <a:defRPr sz="2000"/>
            </a:lvl4pPr>
            <a:lvl5pPr marL="2057400" indent="-228600">
              <a:buFontTx/>
              <a:buBlip>
                <a:blip r:embed="rId3"/>
              </a:buBlip>
              <a:defRPr sz="2000"/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EF6529EF-FA4A-0C4A-B991-8EE73FAA36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61300" y="513287"/>
            <a:ext cx="2920999" cy="146268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accent2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E27896C-6BE4-8A4C-84CB-D2B166E312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258" y="383933"/>
            <a:ext cx="7132742" cy="1537080"/>
          </a:xfrm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500" b="0" i="0">
                <a:solidFill>
                  <a:schemeClr val="tx1"/>
                </a:solidFill>
                <a:latin typeface="Navigo Medium" panose="02070503070706040303" pitchFamily="18" charset="77"/>
                <a:ea typeface="Navigo Medium" panose="02070503070706040303" pitchFamily="18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Наименование слайда </a:t>
            </a:r>
            <a:br>
              <a:rPr lang="ru-RU" dirty="0"/>
            </a:br>
            <a:r>
              <a:rPr lang="ru-RU" dirty="0"/>
              <a:t>в одну/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3468025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0349F12-DB43-7A4F-9A1D-1E7283C64963}"/>
              </a:ext>
            </a:extLst>
          </p:cNvPr>
          <p:cNvSpPr txBox="1"/>
          <p:nvPr userDrawn="1"/>
        </p:nvSpPr>
        <p:spPr>
          <a:xfrm rot="16200000">
            <a:off x="10622596" y="5191034"/>
            <a:ext cx="20074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0" i="0" dirty="0" err="1">
                <a:solidFill>
                  <a:schemeClr val="accent2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t>kanikurgan.ru</a:t>
            </a:r>
            <a:endParaRPr lang="en-US" sz="1500" b="0" i="0" dirty="0">
              <a:solidFill>
                <a:schemeClr val="accent2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FC7532D-1E84-344C-A2BC-D7D316F6CD91}"/>
              </a:ext>
            </a:extLst>
          </p:cNvPr>
          <p:cNvSpPr txBox="1"/>
          <p:nvPr userDrawn="1"/>
        </p:nvSpPr>
        <p:spPr>
          <a:xfrm>
            <a:off x="1066800" y="438443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87D626F-3B17-0247-AFC9-8DE94FFCF6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49025" y="608508"/>
            <a:ext cx="468000" cy="48326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C6D43D7-A08B-624F-B3BD-8649BC436541}"/>
              </a:ext>
            </a:extLst>
          </p:cNvPr>
          <p:cNvSpPr txBox="1"/>
          <p:nvPr userDrawn="1"/>
        </p:nvSpPr>
        <p:spPr>
          <a:xfrm rot="16200000">
            <a:off x="11229457" y="3267418"/>
            <a:ext cx="79375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083E41D-AFDA-A14F-9744-69F240A0560B}" type="slidenum">
              <a:rPr lang="en-US" sz="1500" b="0" i="0" smtClean="0">
                <a:solidFill>
                  <a:schemeClr val="tx1"/>
                </a:solidFill>
                <a:latin typeface="Navigo" panose="02070503070706040303" pitchFamily="18" charset="77"/>
                <a:ea typeface="Navigo" panose="02070503070706040303" pitchFamily="18" charset="77"/>
              </a:rPr>
              <a:pPr algn="ctr"/>
              <a:t>‹#›</a:t>
            </a:fld>
            <a:endParaRPr lang="en-US" sz="1500" b="0" i="0" dirty="0">
              <a:solidFill>
                <a:schemeClr val="tx1"/>
              </a:solidFill>
              <a:latin typeface="Navigo" panose="02070503070706040303" pitchFamily="18" charset="77"/>
              <a:ea typeface="Navigo" panose="02070503070706040303" pitchFamily="18" charset="77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01CED7A-F40A-504F-9657-A9F1ABDAAEF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9425" y="2492375"/>
            <a:ext cx="1403350" cy="1403350"/>
          </a:xfrm>
        </p:spPr>
        <p:txBody>
          <a:bodyPr/>
          <a:lstStyle/>
          <a:p>
            <a:endParaRPr lang="ru-RU"/>
          </a:p>
        </p:txBody>
      </p:sp>
      <p:sp>
        <p:nvSpPr>
          <p:cNvPr id="27" name="Picture Placeholder 12">
            <a:extLst>
              <a:ext uri="{FF2B5EF4-FFF2-40B4-BE49-F238E27FC236}">
                <a16:creationId xmlns:a16="http://schemas.microsoft.com/office/drawing/2014/main" id="{EEB40A3D-84DB-414C-AB00-5B96DFB4416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309521" y="2492375"/>
            <a:ext cx="1403350" cy="1403350"/>
          </a:xfrm>
        </p:spPr>
        <p:txBody>
          <a:bodyPr/>
          <a:lstStyle/>
          <a:p>
            <a:endParaRPr lang="ru-RU"/>
          </a:p>
        </p:txBody>
      </p:sp>
      <p:sp>
        <p:nvSpPr>
          <p:cNvPr id="28" name="Picture Placeholder 12">
            <a:extLst>
              <a:ext uri="{FF2B5EF4-FFF2-40B4-BE49-F238E27FC236}">
                <a16:creationId xmlns:a16="http://schemas.microsoft.com/office/drawing/2014/main" id="{2DA8BA5A-115E-B641-9346-2917B1BB6F2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108007" y="2492375"/>
            <a:ext cx="1403350" cy="1403350"/>
          </a:xfrm>
        </p:spPr>
        <p:txBody>
          <a:bodyPr/>
          <a:lstStyle/>
          <a:p>
            <a:endParaRPr lang="ru-RU"/>
          </a:p>
        </p:txBody>
      </p:sp>
      <p:sp>
        <p:nvSpPr>
          <p:cNvPr id="29" name="Picture Placeholder 12">
            <a:extLst>
              <a:ext uri="{FF2B5EF4-FFF2-40B4-BE49-F238E27FC236}">
                <a16:creationId xmlns:a16="http://schemas.microsoft.com/office/drawing/2014/main" id="{86D8A072-E9A2-AB4E-ADE1-AED68027D5C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906493" y="2492375"/>
            <a:ext cx="1403350" cy="1403350"/>
          </a:xfrm>
        </p:spPr>
        <p:txBody>
          <a:bodyPr/>
          <a:lstStyle/>
          <a:p>
            <a:endParaRPr lang="ru-RU"/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BB658077-587D-7D4E-A02A-35C6054706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3122" y="4769915"/>
            <a:ext cx="2450176" cy="122892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1369BD45-C01E-484E-88DB-A078D90EC2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98428" y="4769915"/>
            <a:ext cx="2450176" cy="122892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CE890E1F-ABFE-C54A-9588-1D9DDB4081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95416" y="4769915"/>
            <a:ext cx="2450176" cy="122892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8391647C-F125-DF4D-88D3-6EE0805F24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19299" y="4769915"/>
            <a:ext cx="2450176" cy="122892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5ACDEAF0-ECC0-DF44-AE93-24B1B4B5FF6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03123" y="4105706"/>
            <a:ext cx="2450176" cy="64695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3036BF5D-2FE5-C647-9EA7-C448FE15F2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3472" y="4105706"/>
            <a:ext cx="2450176" cy="64695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B66EFAB6-1533-4645-B90B-F06EE69E4A5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18109" y="4105706"/>
            <a:ext cx="2450176" cy="64695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40" name="Text Placeholder 13">
            <a:extLst>
              <a:ext uri="{FF2B5EF4-FFF2-40B4-BE49-F238E27FC236}">
                <a16:creationId xmlns:a16="http://schemas.microsoft.com/office/drawing/2014/main" id="{76352720-B262-CE48-8DB4-567BE5D00A4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818459" y="4105706"/>
            <a:ext cx="2450176" cy="64695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500">
                <a:solidFill>
                  <a:schemeClr val="bg2"/>
                </a:solidFill>
              </a:defRPr>
            </a:lvl2pPr>
            <a:lvl3pPr marL="914400" indent="0">
              <a:buNone/>
              <a:defRPr sz="1500">
                <a:solidFill>
                  <a:schemeClr val="bg2"/>
                </a:solidFill>
              </a:defRPr>
            </a:lvl3pPr>
            <a:lvl4pPr marL="1371600" indent="0">
              <a:buNone/>
              <a:defRPr sz="1500">
                <a:solidFill>
                  <a:schemeClr val="bg2"/>
                </a:solidFill>
              </a:defRPr>
            </a:lvl4pPr>
            <a:lvl5pPr marL="1828800" indent="0">
              <a:buNone/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C9F744DA-32CE-C84D-A457-30B5D120437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0258" y="383933"/>
            <a:ext cx="7132742" cy="1537080"/>
          </a:xfrm>
        </p:spPr>
        <p:txBody>
          <a:bodyPr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500" b="0" i="0">
                <a:solidFill>
                  <a:schemeClr val="tx1"/>
                </a:solidFill>
                <a:latin typeface="Navigo Medium" panose="02070503070706040303" pitchFamily="18" charset="77"/>
                <a:ea typeface="Navigo Medium" panose="02070503070706040303" pitchFamily="18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Наименование слайда </a:t>
            </a:r>
            <a:br>
              <a:rPr lang="ru-RU" dirty="0"/>
            </a:br>
            <a:r>
              <a:rPr lang="ru-RU" dirty="0"/>
              <a:t>в одну/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34663721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2D6A97A-2A40-C047-9A34-899449B456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83D931-4129-414B-A53E-85175F796D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AE5164-EAFB-E441-ADDC-84B7C36B53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D191C2-C6A9-A347-984C-9AC985C5D5DB}" type="datetimeFigureOut">
              <a:rPr lang="ru-RU" smtClean="0"/>
              <a:t>23.08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B2D9C0-62CB-C646-A156-C0915AD20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0EFDDF-7E68-B242-B058-4103C655B5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BD76A3-4E57-254C-BAE2-88C12EAAEE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5001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74" r:id="rId4"/>
    <p:sldLayoutId id="2147483675" r:id="rId5"/>
    <p:sldLayoutId id="2147483682" r:id="rId6"/>
    <p:sldLayoutId id="2147483683" r:id="rId7"/>
    <p:sldLayoutId id="2147483676" r:id="rId8"/>
    <p:sldLayoutId id="2147483677" r:id="rId9"/>
    <p:sldLayoutId id="2147483684" r:id="rId10"/>
    <p:sldLayoutId id="2147483678" r:id="rId11"/>
    <p:sldLayoutId id="2147483679" r:id="rId12"/>
    <p:sldLayoutId id="2147483680" r:id="rId13"/>
    <p:sldLayoutId id="2147483681" r:id="rId14"/>
    <p:sldLayoutId id="2147483685" r:id="rId15"/>
    <p:sldLayoutId id="2147483686" r:id="rId16"/>
    <p:sldLayoutId id="2147483687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545" userDrawn="1">
          <p15:clr>
            <a:srgbClr val="F26B43"/>
          </p15:clr>
        </p15:guide>
        <p15:guide id="3" pos="3250" userDrawn="1">
          <p15:clr>
            <a:srgbClr val="F26B43"/>
          </p15:clr>
        </p15:guide>
        <p15:guide id="4" pos="2955" userDrawn="1">
          <p15:clr>
            <a:srgbClr val="F26B43"/>
          </p15:clr>
        </p15:guide>
        <p15:guide id="5" pos="2661" userDrawn="1">
          <p15:clr>
            <a:srgbClr val="F26B43"/>
          </p15:clr>
        </p15:guide>
        <p15:guide id="6" pos="2366" userDrawn="1">
          <p15:clr>
            <a:srgbClr val="F26B43"/>
          </p15:clr>
        </p15:guide>
        <p15:guide id="8" pos="2071" userDrawn="1">
          <p15:clr>
            <a:srgbClr val="F26B43"/>
          </p15:clr>
        </p15:guide>
        <p15:guide id="9" pos="1776" userDrawn="1">
          <p15:clr>
            <a:srgbClr val="F26B43"/>
          </p15:clr>
        </p15:guide>
        <p15:guide id="10" pos="1481" userDrawn="1">
          <p15:clr>
            <a:srgbClr val="F26B43"/>
          </p15:clr>
        </p15:guide>
        <p15:guide id="11" pos="1186" userDrawn="1">
          <p15:clr>
            <a:srgbClr val="F26B43"/>
          </p15:clr>
        </p15:guide>
        <p15:guide id="12" pos="892" userDrawn="1">
          <p15:clr>
            <a:srgbClr val="F26B43"/>
          </p15:clr>
        </p15:guide>
        <p15:guide id="13" pos="597" userDrawn="1">
          <p15:clr>
            <a:srgbClr val="F26B43"/>
          </p15:clr>
        </p15:guide>
        <p15:guide id="14" pos="302" userDrawn="1">
          <p15:clr>
            <a:srgbClr val="F26B43"/>
          </p15:clr>
        </p15:guide>
        <p15:guide id="15" pos="4135" userDrawn="1">
          <p15:clr>
            <a:srgbClr val="F26B43"/>
          </p15:clr>
        </p15:guide>
        <p15:guide id="16" pos="4430" userDrawn="1">
          <p15:clr>
            <a:srgbClr val="F26B43"/>
          </p15:clr>
        </p15:guide>
        <p15:guide id="17" pos="4725" userDrawn="1">
          <p15:clr>
            <a:srgbClr val="F26B43"/>
          </p15:clr>
        </p15:guide>
        <p15:guide id="18" pos="5019" userDrawn="1">
          <p15:clr>
            <a:srgbClr val="F26B43"/>
          </p15:clr>
        </p15:guide>
        <p15:guide id="19" pos="5314" userDrawn="1">
          <p15:clr>
            <a:srgbClr val="F26B43"/>
          </p15:clr>
        </p15:guide>
        <p15:guide id="20" pos="5609" userDrawn="1">
          <p15:clr>
            <a:srgbClr val="F26B43"/>
          </p15:clr>
        </p15:guide>
        <p15:guide id="21" pos="5904" userDrawn="1">
          <p15:clr>
            <a:srgbClr val="F26B43"/>
          </p15:clr>
        </p15:guide>
        <p15:guide id="22" pos="6199" userDrawn="1">
          <p15:clr>
            <a:srgbClr val="F26B43"/>
          </p15:clr>
        </p15:guide>
        <p15:guide id="23" pos="6494" userDrawn="1">
          <p15:clr>
            <a:srgbClr val="F26B43"/>
          </p15:clr>
        </p15:guide>
        <p15:guide id="24" pos="6788" userDrawn="1">
          <p15:clr>
            <a:srgbClr val="F26B43"/>
          </p15:clr>
        </p15:guide>
        <p15:guide id="25" pos="7083" userDrawn="1">
          <p15:clr>
            <a:srgbClr val="F26B43"/>
          </p15:clr>
        </p15:guide>
        <p15:guide id="26" pos="7378" userDrawn="1">
          <p15:clr>
            <a:srgbClr val="F26B43"/>
          </p15:clr>
        </p15:guide>
        <p15:guide id="27" orient="horz" pos="2160" userDrawn="1">
          <p15:clr>
            <a:srgbClr val="F26B43"/>
          </p15:clr>
        </p15:guide>
        <p15:guide id="28" orient="horz" pos="1865" userDrawn="1">
          <p15:clr>
            <a:srgbClr val="F26B43"/>
          </p15:clr>
        </p15:guide>
        <p15:guide id="29" orient="horz" pos="1570" userDrawn="1">
          <p15:clr>
            <a:srgbClr val="F26B43"/>
          </p15:clr>
        </p15:guide>
        <p15:guide id="30" orient="horz" pos="1275" userDrawn="1">
          <p15:clr>
            <a:srgbClr val="F26B43"/>
          </p15:clr>
        </p15:guide>
        <p15:guide id="31" orient="horz" pos="981" userDrawn="1">
          <p15:clr>
            <a:srgbClr val="F26B43"/>
          </p15:clr>
        </p15:guide>
        <p15:guide id="32" orient="horz" pos="686" userDrawn="1">
          <p15:clr>
            <a:srgbClr val="F26B43"/>
          </p15:clr>
        </p15:guide>
        <p15:guide id="33" orient="horz" pos="391" userDrawn="1">
          <p15:clr>
            <a:srgbClr val="F26B43"/>
          </p15:clr>
        </p15:guide>
        <p15:guide id="34" orient="horz" pos="96" userDrawn="1">
          <p15:clr>
            <a:srgbClr val="F26B43"/>
          </p15:clr>
        </p15:guide>
        <p15:guide id="35" orient="horz" pos="2455" userDrawn="1">
          <p15:clr>
            <a:srgbClr val="F26B43"/>
          </p15:clr>
        </p15:guide>
        <p15:guide id="36" orient="horz" pos="2750" userDrawn="1">
          <p15:clr>
            <a:srgbClr val="F26B43"/>
          </p15:clr>
        </p15:guide>
        <p15:guide id="37" orient="horz" pos="3045" userDrawn="1">
          <p15:clr>
            <a:srgbClr val="F26B43"/>
          </p15:clr>
        </p15:guide>
        <p15:guide id="38" orient="horz" pos="3339" userDrawn="1">
          <p15:clr>
            <a:srgbClr val="F26B43"/>
          </p15:clr>
        </p15:guide>
        <p15:guide id="39" orient="horz" pos="3634" userDrawn="1">
          <p15:clr>
            <a:srgbClr val="F26B43"/>
          </p15:clr>
        </p15:guide>
        <p15:guide id="40" orient="horz" pos="3929" userDrawn="1">
          <p15:clr>
            <a:srgbClr val="F26B43"/>
          </p15:clr>
        </p15:guide>
        <p15:guide id="41" orient="horz" pos="422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B9DCFA6-0699-5C46-9429-01E2572FC1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3A000F-6BCF-5741-B085-6770A63ED7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592C4B-343F-8443-9918-5E2FDAD9E3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10F9BD-49B4-BC47-9E6A-38238048505E}" type="datetimeFigureOut">
              <a:rPr lang="ru-RU" smtClean="0"/>
              <a:t>23.08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392681-B11C-1F46-BEDC-A9D444052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728B97-2F8D-2643-8BA1-D2872C8EA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7DCA0B-E9E1-FB41-9678-A82C97823D9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2775935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6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2.emf"/><Relationship Id="rId4" Type="http://schemas.openxmlformats.org/officeDocument/2006/relationships/image" Target="../media/image24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oleObject" Target="../embeddings/oleObject2.bin"/><Relationship Id="rId7" Type="http://schemas.openxmlformats.org/officeDocument/2006/relationships/image" Target="../media/image24.sv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.xml"/><Relationship Id="rId6" Type="http://schemas.openxmlformats.org/officeDocument/2006/relationships/image" Target="../media/image23.png"/><Relationship Id="rId5" Type="http://schemas.openxmlformats.org/officeDocument/2006/relationships/image" Target="../media/image25.jpg"/><Relationship Id="rId4" Type="http://schemas.openxmlformats.org/officeDocument/2006/relationships/image" Target="../media/image17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0.jpg"/><Relationship Id="rId4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:a16="http://schemas.microsoft.com/office/drawing/2014/main" id="{F8605A1E-F158-DF42-8F1E-312AD7F57A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9318" y="1690786"/>
            <a:ext cx="7119065" cy="2777445"/>
          </a:xfrm>
        </p:spPr>
        <p:txBody>
          <a:bodyPr>
            <a:noAutofit/>
          </a:bodyPr>
          <a:lstStyle/>
          <a:p>
            <a:r>
              <a:rPr lang="ru-RU" sz="4800" dirty="0"/>
              <a:t>Таможенно-логистический терминал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FC70422-0DA2-7CA2-0F7A-286F724CDED4}"/>
              </a:ext>
            </a:extLst>
          </p:cNvPr>
          <p:cNvSpPr txBox="1"/>
          <p:nvPr/>
        </p:nvSpPr>
        <p:spPr>
          <a:xfrm>
            <a:off x="349318" y="5915296"/>
            <a:ext cx="613244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1800" b="1" dirty="0">
                <a:solidFill>
                  <a:schemeClr val="bg1"/>
                </a:solidFill>
                <a:latin typeface="Montserrat Light" panose="00000400000000000000" pitchFamily="2" charset="-52"/>
              </a:rPr>
              <a:t>Проект реализует «Агентство развития проектных</a:t>
            </a:r>
          </a:p>
          <a:p>
            <a:pPr algn="l">
              <a:spcBef>
                <a:spcPts val="0"/>
              </a:spcBef>
            </a:pPr>
            <a:r>
              <a:rPr lang="ru-RU" sz="1800" b="1" dirty="0">
                <a:solidFill>
                  <a:schemeClr val="bg1"/>
                </a:solidFill>
                <a:latin typeface="Montserrat Light" panose="00000400000000000000" pitchFamily="2" charset="-52"/>
              </a:rPr>
              <a:t>инициатив» (входит в ГК «РЕГИОН»)</a:t>
            </a:r>
          </a:p>
          <a:p>
            <a:pPr algn="l">
              <a:spcBef>
                <a:spcPts val="0"/>
              </a:spcBef>
            </a:pPr>
            <a:endParaRPr lang="ru-RU" sz="1800" b="1" dirty="0">
              <a:solidFill>
                <a:schemeClr val="bg1"/>
              </a:solidFill>
              <a:latin typeface="Montserrat Light" panose="000004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1378316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FE7E3F0-9B22-6EE5-67E2-0B536E0802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9939" y="0"/>
            <a:ext cx="12173930" cy="6847835"/>
          </a:xfrm>
          <a:prstGeom prst="rect">
            <a:avLst/>
          </a:prstGeom>
        </p:spPr>
      </p:pic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BD5231FC-DFBB-4E5E-ACA1-891AE30D0E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BD5231FC-DFBB-4E5E-ACA1-891AE30D0E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150;p30">
            <a:extLst>
              <a:ext uri="{FF2B5EF4-FFF2-40B4-BE49-F238E27FC236}">
                <a16:creationId xmlns:a16="http://schemas.microsoft.com/office/drawing/2014/main" id="{C7E7B5C1-F312-49E7-BAFE-CFF8DD7948A0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5026962" y="1190630"/>
            <a:ext cx="6730947" cy="1971866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-RU" sz="2800" b="1" dirty="0">
                <a:solidFill>
                  <a:schemeClr val="bg1"/>
                </a:solidFill>
                <a:latin typeface="+mj-lt"/>
              </a:rPr>
              <a:t>ТАМОЖЕННО-ЛОГИСТИЧЕСКИЙ ТЕРМИНАЛ </a:t>
            </a:r>
            <a:endParaRPr lang="en-US" sz="2800" b="1" dirty="0">
              <a:solidFill>
                <a:schemeClr val="bg1"/>
              </a:solidFill>
              <a:latin typeface="Montserrat" panose="02000505000000020004" pitchFamily="2" charset="0"/>
            </a:endParaRPr>
          </a:p>
          <a:p>
            <a:pPr>
              <a:spcBef>
                <a:spcPts val="0"/>
              </a:spcBef>
            </a:pPr>
            <a:endParaRPr lang="ru-RU" sz="2800" b="1" dirty="0">
              <a:solidFill>
                <a:schemeClr val="bg1"/>
              </a:solidFill>
              <a:latin typeface="+mj-lt"/>
            </a:endParaRPr>
          </a:p>
          <a:p>
            <a:pPr>
              <a:spcBef>
                <a:spcPts val="0"/>
              </a:spcBef>
            </a:pPr>
            <a:r>
              <a:rPr lang="ru-RU" sz="2800" b="1" dirty="0">
                <a:solidFill>
                  <a:schemeClr val="bg1"/>
                </a:solidFill>
                <a:latin typeface="+mj-lt"/>
              </a:rPr>
              <a:t>НОВЫЙ ПОГРАНИЧНЫЙ ПЕРЕХОД РОССИЯ – КИТАЙ</a:t>
            </a:r>
          </a:p>
          <a:p>
            <a:pPr>
              <a:spcBef>
                <a:spcPts val="0"/>
              </a:spcBef>
            </a:pPr>
            <a:endParaRPr lang="ru-RU" sz="2000" b="1" dirty="0">
              <a:solidFill>
                <a:schemeClr val="bg1"/>
              </a:solidFill>
              <a:latin typeface="+mj-lt"/>
            </a:endParaRPr>
          </a:p>
          <a:p>
            <a:pPr>
              <a:spcBef>
                <a:spcPts val="0"/>
              </a:spcBef>
            </a:pPr>
            <a:endParaRPr sz="2000" b="1" dirty="0">
              <a:solidFill>
                <a:schemeClr val="bg1"/>
              </a:solidFill>
              <a:latin typeface="Montserrat" panose="02000505000000020004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5EEA9D-1563-43CD-9E37-A8B8B85EAF03}"/>
              </a:ext>
            </a:extLst>
          </p:cNvPr>
          <p:cNvSpPr txBox="1"/>
          <p:nvPr/>
        </p:nvSpPr>
        <p:spPr>
          <a:xfrm>
            <a:off x="-399082" y="776180"/>
            <a:ext cx="2564058" cy="9335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5400" b="1" dirty="0">
                <a:solidFill>
                  <a:schemeClr val="bg1"/>
                </a:solidFill>
                <a:latin typeface="Montserrat Light" panose="00000400000000000000" pitchFamily="2" charset="-52"/>
                <a:ea typeface="Montserrat" charset="0"/>
                <a:cs typeface="Montserrat" charset="0"/>
              </a:rPr>
              <a:t>7</a:t>
            </a:r>
            <a:r>
              <a:rPr lang="ru-RU" sz="2400" b="1" dirty="0">
                <a:solidFill>
                  <a:schemeClr val="bg1"/>
                </a:solidFill>
                <a:latin typeface="Montserrat Light" panose="00000400000000000000" pitchFamily="2" charset="-52"/>
                <a:ea typeface="Montserrat" charset="0"/>
                <a:cs typeface="Montserrat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latin typeface="Montserrat Light" panose="00000400000000000000" pitchFamily="2" charset="-52"/>
                <a:ea typeface="Montserrat" charset="0"/>
                <a:cs typeface="Montserrat" charset="0"/>
              </a:rPr>
              <a:t>млрд руб.</a:t>
            </a:r>
            <a:endParaRPr kumimoji="0" lang="ru-RU" sz="1400" b="1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ontserrat Light" panose="00000400000000000000" pitchFamily="2" charset="-52"/>
              <a:ea typeface="Montserrat" charset="0"/>
              <a:cs typeface="Montserrat" charset="0"/>
              <a:sym typeface="Helvetica Light"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3EAF4A8-5CEC-4D10-837A-88DF5311FB53}"/>
              </a:ext>
            </a:extLst>
          </p:cNvPr>
          <p:cNvSpPr txBox="1">
            <a:spLocks/>
          </p:cNvSpPr>
          <p:nvPr/>
        </p:nvSpPr>
        <p:spPr>
          <a:xfrm>
            <a:off x="1562939" y="1053820"/>
            <a:ext cx="1891145" cy="4217353"/>
          </a:xfrm>
          <a:prstGeom prst="rect">
            <a:avLst/>
          </a:prstGeom>
        </p:spPr>
        <p:txBody>
          <a:bodyPr>
            <a:normAutofit/>
          </a:bodyPr>
          <a:lstStyle>
            <a:lvl1pPr marL="31750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500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51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7001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520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502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52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4003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53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 hangingPunct="1">
              <a:buNone/>
            </a:pPr>
            <a:r>
              <a:rPr lang="ru-RU" sz="1400" dirty="0">
                <a:solidFill>
                  <a:schemeClr val="bg1"/>
                </a:solidFill>
                <a:latin typeface="Montserrat Light" panose="00000400000000000000" pitchFamily="2" charset="-52"/>
              </a:rPr>
              <a:t>Оценка инвестиций  </a:t>
            </a:r>
          </a:p>
          <a:p>
            <a:pPr marL="0" indent="0" hangingPunct="1">
              <a:buNone/>
            </a:pPr>
            <a:r>
              <a:rPr lang="ru-RU" sz="1400" dirty="0">
                <a:solidFill>
                  <a:schemeClr val="bg1"/>
                </a:solidFill>
                <a:latin typeface="Montserrat Light" panose="00000400000000000000" pitchFamily="2" charset="-52"/>
              </a:rPr>
              <a:t>Новых рабочих мест</a:t>
            </a:r>
            <a:r>
              <a:rPr lang="en-US" sz="1400" dirty="0">
                <a:solidFill>
                  <a:schemeClr val="bg1"/>
                </a:solidFill>
                <a:latin typeface="Montserrat Light" panose="00000400000000000000" pitchFamily="2" charset="-52"/>
              </a:rPr>
              <a:t> </a:t>
            </a:r>
            <a:r>
              <a:rPr lang="ru-RU" sz="1400" dirty="0">
                <a:solidFill>
                  <a:schemeClr val="bg1"/>
                </a:solidFill>
                <a:latin typeface="Montserrat Light" panose="00000400000000000000" pitchFamily="2" charset="-52"/>
              </a:rPr>
              <a:t>к 2024 году</a:t>
            </a:r>
          </a:p>
          <a:p>
            <a:pPr marL="0" indent="0" hangingPunct="1">
              <a:buNone/>
            </a:pPr>
            <a:r>
              <a:rPr lang="ru-RU" sz="1400" dirty="0">
                <a:solidFill>
                  <a:schemeClr val="bg1"/>
                </a:solidFill>
                <a:latin typeface="Montserrat Light" panose="00000400000000000000" pitchFamily="2" charset="-52"/>
              </a:rPr>
              <a:t>Потенциал развития трансграничных грузоперевозок</a:t>
            </a:r>
          </a:p>
          <a:p>
            <a:pPr marL="0" indent="0" hangingPunct="1">
              <a:buNone/>
            </a:pPr>
            <a:endParaRPr lang="en-US" sz="1400" dirty="0">
              <a:solidFill>
                <a:schemeClr val="bg1"/>
              </a:solidFill>
              <a:latin typeface="Montserrat Light" panose="00000400000000000000" pitchFamily="2" charset="-52"/>
            </a:endParaRPr>
          </a:p>
          <a:p>
            <a:pPr hangingPunct="1"/>
            <a:endParaRPr lang="ru-RU" sz="1400" dirty="0">
              <a:solidFill>
                <a:schemeClr val="bg1"/>
              </a:solidFill>
              <a:latin typeface="Montserrat Light" panose="00000400000000000000" pitchFamily="2" charset="-52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2220B38-E2BA-47EA-AE98-8FE28470BB6A}"/>
              </a:ext>
            </a:extLst>
          </p:cNvPr>
          <p:cNvSpPr txBox="1"/>
          <p:nvPr/>
        </p:nvSpPr>
        <p:spPr>
          <a:xfrm>
            <a:off x="-254429" y="1663373"/>
            <a:ext cx="1991164" cy="9335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 dirty="0">
                <a:solidFill>
                  <a:schemeClr val="bg1"/>
                </a:solidFill>
                <a:latin typeface="Montserrat Light" panose="00000400000000000000" pitchFamily="2" charset="-52"/>
                <a:ea typeface="Montserrat" charset="0"/>
                <a:cs typeface="Montserrat" charset="0"/>
              </a:rPr>
              <a:t>&gt;</a:t>
            </a:r>
            <a:r>
              <a:rPr lang="ru-RU" sz="5400" b="1" dirty="0">
                <a:solidFill>
                  <a:schemeClr val="bg1"/>
                </a:solidFill>
                <a:latin typeface="Montserrat Light" panose="00000400000000000000" pitchFamily="2" charset="-52"/>
                <a:ea typeface="Montserrat" charset="0"/>
                <a:cs typeface="Montserrat" charset="0"/>
              </a:rPr>
              <a:t>200</a:t>
            </a:r>
            <a:endParaRPr kumimoji="0" lang="ru-RU" sz="5400" b="1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ontserrat Light" panose="00000400000000000000" pitchFamily="2" charset="-52"/>
              <a:ea typeface="Montserrat" charset="0"/>
              <a:cs typeface="Montserrat" charset="0"/>
              <a:sym typeface="Helvetica Ligh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919421-C173-49B1-86C1-8CD640BF1857}"/>
              </a:ext>
            </a:extLst>
          </p:cNvPr>
          <p:cNvSpPr txBox="1"/>
          <p:nvPr/>
        </p:nvSpPr>
        <p:spPr>
          <a:xfrm>
            <a:off x="-597965" y="2596962"/>
            <a:ext cx="2831191" cy="9335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5400" b="1" dirty="0">
                <a:solidFill>
                  <a:schemeClr val="bg1"/>
                </a:solidFill>
                <a:latin typeface="Montserrat Light" panose="00000400000000000000" pitchFamily="2" charset="-52"/>
                <a:ea typeface="Montserrat" charset="0"/>
                <a:cs typeface="Montserrat" charset="0"/>
              </a:rPr>
              <a:t>3</a:t>
            </a:r>
            <a:r>
              <a:rPr lang="ru-RU" sz="2400" b="1" dirty="0">
                <a:solidFill>
                  <a:schemeClr val="bg1"/>
                </a:solidFill>
                <a:latin typeface="Montserrat Light" panose="00000400000000000000" pitchFamily="2" charset="-52"/>
                <a:ea typeface="Montserrat" charset="0"/>
                <a:cs typeface="Montserrat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latin typeface="Montserrat Light" panose="00000400000000000000" pitchFamily="2" charset="-52"/>
                <a:ea typeface="Montserrat" charset="0"/>
                <a:cs typeface="Montserrat" charset="0"/>
              </a:rPr>
              <a:t>млн тонн</a:t>
            </a:r>
            <a:endParaRPr kumimoji="0" lang="ru-RU" sz="1400" b="1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Montserrat Light" panose="00000400000000000000" pitchFamily="2" charset="-52"/>
              <a:ea typeface="Montserrat" charset="0"/>
              <a:cs typeface="Montserrat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1451480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ubtitle 6">
            <a:extLst>
              <a:ext uri="{FF2B5EF4-FFF2-40B4-BE49-F238E27FC236}">
                <a16:creationId xmlns:a16="http://schemas.microsoft.com/office/drawing/2014/main" id="{751860AD-193A-4C44-BADD-0752EB09A21D}"/>
              </a:ext>
            </a:extLst>
          </p:cNvPr>
          <p:cNvSpPr txBox="1">
            <a:spLocks/>
          </p:cNvSpPr>
          <p:nvPr/>
        </p:nvSpPr>
        <p:spPr>
          <a:xfrm>
            <a:off x="360257" y="383933"/>
            <a:ext cx="10701033" cy="1537080"/>
          </a:xfrm>
          <a:prstGeom prst="rect">
            <a:avLst/>
          </a:prstGeom>
        </p:spPr>
        <p:txBody>
          <a:bodyPr>
            <a:normAutofit/>
          </a:bodyPr>
          <a:lstStyle>
            <a:lvl1pPr marL="31750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500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51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7001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520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502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52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4003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53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 hangingPunct="1">
              <a:buNone/>
            </a:pPr>
            <a:r>
              <a:rPr lang="ru-RU" sz="2800" b="1" dirty="0">
                <a:solidFill>
                  <a:srgbClr val="000000"/>
                </a:solidFill>
                <a:latin typeface="Montserrat Light" panose="00000400000000000000" pitchFamily="2" charset="-52"/>
              </a:rPr>
              <a:t>ТЛТ КАНИКУРГАН - УНИВЕРСАЛЬНЫЙ ЛОГИСТИЧЕСКИЙ ХАБ ДАЛЬНЕГО ВОСТОКА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2A85F17-51D0-4002-961F-367A5BDBD481}"/>
              </a:ext>
            </a:extLst>
          </p:cNvPr>
          <p:cNvSpPr txBox="1">
            <a:spLocks/>
          </p:cNvSpPr>
          <p:nvPr/>
        </p:nvSpPr>
        <p:spPr>
          <a:xfrm>
            <a:off x="1286074" y="1963884"/>
            <a:ext cx="6413179" cy="37168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>
                <a:solidFill>
                  <a:srgbClr val="000000"/>
                </a:solidFill>
                <a:latin typeface="Montserrat Light" panose="00000400000000000000" pitchFamily="2" charset="-52"/>
              </a:rPr>
              <a:t>Современный пограничный с Китаем логистический комплекс с системой интеллектуальной очереди на Дальнем Востоке в 30 км от Благовещенска.</a:t>
            </a:r>
          </a:p>
          <a:p>
            <a:endParaRPr lang="ru-RU" sz="1600" dirty="0">
              <a:solidFill>
                <a:srgbClr val="000000"/>
              </a:solidFill>
              <a:latin typeface="Montserrat Light" panose="00000400000000000000" pitchFamily="2" charset="-52"/>
            </a:endParaRPr>
          </a:p>
          <a:p>
            <a:endParaRPr lang="ru-RU" sz="1600" dirty="0">
              <a:solidFill>
                <a:srgbClr val="000000"/>
              </a:solidFill>
              <a:latin typeface="Montserrat Light" panose="00000400000000000000" pitchFamily="2" charset="-52"/>
            </a:endParaRPr>
          </a:p>
          <a:p>
            <a:r>
              <a:rPr lang="ru-RU" sz="1600" dirty="0">
                <a:solidFill>
                  <a:srgbClr val="000000"/>
                </a:solidFill>
                <a:latin typeface="Montserrat Light" panose="00000400000000000000" pitchFamily="2" charset="-52"/>
              </a:rPr>
              <a:t>Универсальных Хаб нового транспортного коридора РФ для северо-восточного Китая. Зона охвата маршрутов по Китаю - 2500 км.</a:t>
            </a:r>
            <a:endParaRPr lang="en-US" sz="1600" dirty="0">
              <a:solidFill>
                <a:srgbClr val="000000"/>
              </a:solidFill>
              <a:latin typeface="Montserrat Light" panose="00000400000000000000" pitchFamily="2" charset="-52"/>
            </a:endParaRPr>
          </a:p>
          <a:p>
            <a:endParaRPr lang="ru-RU" sz="1600" dirty="0">
              <a:solidFill>
                <a:srgbClr val="000000"/>
              </a:solidFill>
              <a:latin typeface="Montserrat Light" panose="00000400000000000000" pitchFamily="2" charset="-52"/>
            </a:endParaRPr>
          </a:p>
          <a:p>
            <a:endParaRPr lang="ru-RU" sz="1600" dirty="0">
              <a:solidFill>
                <a:srgbClr val="000000"/>
              </a:solidFill>
              <a:latin typeface="Montserrat Light" panose="00000400000000000000" pitchFamily="2" charset="-52"/>
            </a:endParaRPr>
          </a:p>
          <a:p>
            <a:r>
              <a:rPr lang="ru-RU" sz="1600" dirty="0">
                <a:solidFill>
                  <a:srgbClr val="000000"/>
                </a:solidFill>
                <a:latin typeface="Montserrat Light" panose="00000400000000000000" pitchFamily="2" charset="-52"/>
              </a:rPr>
              <a:t>Позволяет сократить протяженность маршрута по России на 1500 км относительно ближайших точек формирования ЖД маршрутов во Владивостоке и Уссурийске в западном направлении.</a:t>
            </a:r>
          </a:p>
          <a:p>
            <a:endParaRPr lang="ru-RU" sz="1600" dirty="0">
              <a:solidFill>
                <a:srgbClr val="000000"/>
              </a:solidFill>
              <a:latin typeface="Montserrat Light" panose="00000400000000000000" pitchFamily="2" charset="-52"/>
            </a:endParaRPr>
          </a:p>
          <a:p>
            <a:endParaRPr lang="ru-RU" sz="1600" dirty="0">
              <a:solidFill>
                <a:srgbClr val="000000"/>
              </a:solidFill>
              <a:latin typeface="Montserrat Light" panose="00000400000000000000" pitchFamily="2" charset="-52"/>
            </a:endParaRPr>
          </a:p>
          <a:p>
            <a:r>
              <a:rPr lang="ru-RU" sz="1600" dirty="0">
                <a:solidFill>
                  <a:srgbClr val="000000"/>
                </a:solidFill>
                <a:latin typeface="Montserrat Light" panose="00000400000000000000" pitchFamily="2" charset="-52"/>
              </a:rPr>
              <a:t>Проект ТЛТ состоит из таможенного терминала и грузового комплекса. Планируется реализовать в четыре этапа сроком до 2024 года. </a:t>
            </a:r>
          </a:p>
        </p:txBody>
      </p:sp>
      <p:pic>
        <p:nvPicPr>
          <p:cNvPr id="39" name="Picture Placeholder 31">
            <a:extLst>
              <a:ext uri="{FF2B5EF4-FFF2-40B4-BE49-F238E27FC236}">
                <a16:creationId xmlns:a16="http://schemas.microsoft.com/office/drawing/2014/main" id="{FDA1AFFB-78BC-480E-A0CC-4078EB8DCA4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427" y="4260533"/>
            <a:ext cx="823916" cy="823916"/>
          </a:xfrm>
          <a:prstGeom prst="rect">
            <a:avLst/>
          </a:prstGeom>
        </p:spPr>
      </p:pic>
      <p:grpSp>
        <p:nvGrpSpPr>
          <p:cNvPr id="42" name="Google Shape;5752;p60">
            <a:extLst>
              <a:ext uri="{FF2B5EF4-FFF2-40B4-BE49-F238E27FC236}">
                <a16:creationId xmlns:a16="http://schemas.microsoft.com/office/drawing/2014/main" id="{D01DE543-B593-495D-96A5-D58337575517}"/>
              </a:ext>
            </a:extLst>
          </p:cNvPr>
          <p:cNvGrpSpPr/>
          <p:nvPr/>
        </p:nvGrpSpPr>
        <p:grpSpPr>
          <a:xfrm>
            <a:off x="476528" y="5580070"/>
            <a:ext cx="570499" cy="502706"/>
            <a:chOff x="5774124" y="4294550"/>
            <a:chExt cx="331611" cy="331674"/>
          </a:xfrm>
          <a:solidFill>
            <a:srgbClr val="00D77D"/>
          </a:solidFill>
        </p:grpSpPr>
        <p:sp>
          <p:nvSpPr>
            <p:cNvPr id="43" name="Google Shape;5753;p60">
              <a:extLst>
                <a:ext uri="{FF2B5EF4-FFF2-40B4-BE49-F238E27FC236}">
                  <a16:creationId xmlns:a16="http://schemas.microsoft.com/office/drawing/2014/main" id="{DFDCF8BF-3B51-4F74-9CE6-98A07097B942}"/>
                </a:ext>
              </a:extLst>
            </p:cNvPr>
            <p:cNvSpPr/>
            <p:nvPr/>
          </p:nvSpPr>
          <p:spPr>
            <a:xfrm>
              <a:off x="5774124" y="4419664"/>
              <a:ext cx="331611" cy="206560"/>
            </a:xfrm>
            <a:custGeom>
              <a:avLst/>
              <a:gdLst/>
              <a:ahLst/>
              <a:cxnLst/>
              <a:rect l="l" t="t" r="r" b="b"/>
              <a:pathLst>
                <a:path w="10419" h="6490" extrusionOk="0">
                  <a:moveTo>
                    <a:pt x="2751" y="2905"/>
                  </a:moveTo>
                  <a:lnTo>
                    <a:pt x="2751" y="6191"/>
                  </a:lnTo>
                  <a:lnTo>
                    <a:pt x="1429" y="6191"/>
                  </a:lnTo>
                  <a:lnTo>
                    <a:pt x="1429" y="2905"/>
                  </a:lnTo>
                  <a:close/>
                  <a:moveTo>
                    <a:pt x="5847" y="2084"/>
                  </a:moveTo>
                  <a:lnTo>
                    <a:pt x="5847" y="6191"/>
                  </a:lnTo>
                  <a:lnTo>
                    <a:pt x="4525" y="6191"/>
                  </a:lnTo>
                  <a:lnTo>
                    <a:pt x="4525" y="2084"/>
                  </a:lnTo>
                  <a:close/>
                  <a:moveTo>
                    <a:pt x="8942" y="298"/>
                  </a:moveTo>
                  <a:lnTo>
                    <a:pt x="8942" y="6191"/>
                  </a:lnTo>
                  <a:lnTo>
                    <a:pt x="7609" y="6191"/>
                  </a:lnTo>
                  <a:lnTo>
                    <a:pt x="7609" y="298"/>
                  </a:lnTo>
                  <a:close/>
                  <a:moveTo>
                    <a:pt x="7466" y="0"/>
                  </a:moveTo>
                  <a:cubicBezTo>
                    <a:pt x="7383" y="0"/>
                    <a:pt x="7323" y="72"/>
                    <a:pt x="7323" y="155"/>
                  </a:cubicBezTo>
                  <a:lnTo>
                    <a:pt x="7323" y="6191"/>
                  </a:lnTo>
                  <a:lnTo>
                    <a:pt x="6156" y="6191"/>
                  </a:lnTo>
                  <a:lnTo>
                    <a:pt x="6156" y="1941"/>
                  </a:lnTo>
                  <a:cubicBezTo>
                    <a:pt x="6156" y="1846"/>
                    <a:pt x="6085" y="1786"/>
                    <a:pt x="6013" y="1786"/>
                  </a:cubicBezTo>
                  <a:lnTo>
                    <a:pt x="4370" y="1786"/>
                  </a:lnTo>
                  <a:cubicBezTo>
                    <a:pt x="4287" y="1786"/>
                    <a:pt x="4227" y="1858"/>
                    <a:pt x="4227" y="1941"/>
                  </a:cubicBezTo>
                  <a:lnTo>
                    <a:pt x="4227" y="6191"/>
                  </a:lnTo>
                  <a:lnTo>
                    <a:pt x="3061" y="6191"/>
                  </a:lnTo>
                  <a:lnTo>
                    <a:pt x="3061" y="2751"/>
                  </a:lnTo>
                  <a:cubicBezTo>
                    <a:pt x="3061" y="2667"/>
                    <a:pt x="2989" y="2608"/>
                    <a:pt x="2918" y="2608"/>
                  </a:cubicBezTo>
                  <a:lnTo>
                    <a:pt x="1275" y="2608"/>
                  </a:lnTo>
                  <a:cubicBezTo>
                    <a:pt x="1191" y="2608"/>
                    <a:pt x="1132" y="2679"/>
                    <a:pt x="1132" y="2751"/>
                  </a:cubicBezTo>
                  <a:lnTo>
                    <a:pt x="1132" y="6191"/>
                  </a:lnTo>
                  <a:lnTo>
                    <a:pt x="144" y="6191"/>
                  </a:lnTo>
                  <a:cubicBezTo>
                    <a:pt x="60" y="6191"/>
                    <a:pt x="1" y="6263"/>
                    <a:pt x="1" y="6346"/>
                  </a:cubicBezTo>
                  <a:cubicBezTo>
                    <a:pt x="1" y="6430"/>
                    <a:pt x="72" y="6489"/>
                    <a:pt x="144" y="6489"/>
                  </a:cubicBezTo>
                  <a:lnTo>
                    <a:pt x="10264" y="6489"/>
                  </a:lnTo>
                  <a:cubicBezTo>
                    <a:pt x="10359" y="6489"/>
                    <a:pt x="10419" y="6418"/>
                    <a:pt x="10419" y="6346"/>
                  </a:cubicBezTo>
                  <a:cubicBezTo>
                    <a:pt x="10395" y="6251"/>
                    <a:pt x="10323" y="6191"/>
                    <a:pt x="10240" y="6191"/>
                  </a:cubicBezTo>
                  <a:lnTo>
                    <a:pt x="9252" y="6191"/>
                  </a:lnTo>
                  <a:lnTo>
                    <a:pt x="9252" y="155"/>
                  </a:lnTo>
                  <a:cubicBezTo>
                    <a:pt x="9252" y="60"/>
                    <a:pt x="9180" y="0"/>
                    <a:pt x="9109" y="0"/>
                  </a:cubicBezTo>
                  <a:close/>
                </a:path>
              </a:pathLst>
            </a:custGeom>
            <a:grpFill/>
            <a:ln>
              <a:solidFill>
                <a:srgbClr val="5AC6CC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000000"/>
                </a:solidFill>
                <a:latin typeface="Montserrat Light" panose="00000400000000000000" pitchFamily="2" charset="-52"/>
              </a:endParaRPr>
            </a:p>
          </p:txBody>
        </p:sp>
        <p:sp>
          <p:nvSpPr>
            <p:cNvPr id="69" name="Google Shape;5754;p60">
              <a:extLst>
                <a:ext uri="{FF2B5EF4-FFF2-40B4-BE49-F238E27FC236}">
                  <a16:creationId xmlns:a16="http://schemas.microsoft.com/office/drawing/2014/main" id="{85CDF88A-F701-457B-BE0D-7042B7995FB6}"/>
                </a:ext>
              </a:extLst>
            </p:cNvPr>
            <p:cNvSpPr/>
            <p:nvPr/>
          </p:nvSpPr>
          <p:spPr>
            <a:xfrm>
              <a:off x="5778294" y="4294550"/>
              <a:ext cx="316461" cy="191442"/>
            </a:xfrm>
            <a:custGeom>
              <a:avLst/>
              <a:gdLst/>
              <a:ahLst/>
              <a:cxnLst/>
              <a:rect l="l" t="t" r="r" b="b"/>
              <a:pathLst>
                <a:path w="9943" h="6015" extrusionOk="0">
                  <a:moveTo>
                    <a:pt x="9447" y="0"/>
                  </a:moveTo>
                  <a:cubicBezTo>
                    <a:pt x="9433" y="0"/>
                    <a:pt x="9420" y="1"/>
                    <a:pt x="9407" y="2"/>
                  </a:cubicBezTo>
                  <a:lnTo>
                    <a:pt x="8097" y="169"/>
                  </a:lnTo>
                  <a:cubicBezTo>
                    <a:pt x="7847" y="193"/>
                    <a:pt x="7644" y="455"/>
                    <a:pt x="7680" y="705"/>
                  </a:cubicBezTo>
                  <a:cubicBezTo>
                    <a:pt x="7703" y="951"/>
                    <a:pt x="7914" y="1123"/>
                    <a:pt x="8167" y="1123"/>
                  </a:cubicBezTo>
                  <a:cubicBezTo>
                    <a:pt x="8183" y="1123"/>
                    <a:pt x="8200" y="1123"/>
                    <a:pt x="8216" y="1121"/>
                  </a:cubicBezTo>
                  <a:lnTo>
                    <a:pt x="8323" y="1109"/>
                  </a:lnTo>
                  <a:lnTo>
                    <a:pt x="8323" y="1109"/>
                  </a:lnTo>
                  <a:cubicBezTo>
                    <a:pt x="6716" y="2967"/>
                    <a:pt x="4811" y="3919"/>
                    <a:pt x="3465" y="4407"/>
                  </a:cubicBezTo>
                  <a:cubicBezTo>
                    <a:pt x="1787" y="5003"/>
                    <a:pt x="477" y="5062"/>
                    <a:pt x="477" y="5062"/>
                  </a:cubicBezTo>
                  <a:cubicBezTo>
                    <a:pt x="203" y="5074"/>
                    <a:pt x="1" y="5288"/>
                    <a:pt x="13" y="5550"/>
                  </a:cubicBezTo>
                  <a:cubicBezTo>
                    <a:pt x="24" y="5824"/>
                    <a:pt x="239" y="6015"/>
                    <a:pt x="489" y="6015"/>
                  </a:cubicBezTo>
                  <a:lnTo>
                    <a:pt x="501" y="6015"/>
                  </a:lnTo>
                  <a:cubicBezTo>
                    <a:pt x="560" y="6015"/>
                    <a:pt x="1953" y="5967"/>
                    <a:pt x="3775" y="5312"/>
                  </a:cubicBezTo>
                  <a:cubicBezTo>
                    <a:pt x="4811" y="4943"/>
                    <a:pt x="5775" y="4467"/>
                    <a:pt x="6656" y="3872"/>
                  </a:cubicBezTo>
                  <a:cubicBezTo>
                    <a:pt x="6728" y="3824"/>
                    <a:pt x="6740" y="3729"/>
                    <a:pt x="6692" y="3669"/>
                  </a:cubicBezTo>
                  <a:cubicBezTo>
                    <a:pt x="6670" y="3618"/>
                    <a:pt x="6621" y="3594"/>
                    <a:pt x="6573" y="3594"/>
                  </a:cubicBezTo>
                  <a:cubicBezTo>
                    <a:pt x="6542" y="3594"/>
                    <a:pt x="6512" y="3603"/>
                    <a:pt x="6490" y="3622"/>
                  </a:cubicBezTo>
                  <a:cubicBezTo>
                    <a:pt x="5620" y="4205"/>
                    <a:pt x="4692" y="4681"/>
                    <a:pt x="3692" y="5038"/>
                  </a:cubicBezTo>
                  <a:cubicBezTo>
                    <a:pt x="1906" y="5669"/>
                    <a:pt x="560" y="5717"/>
                    <a:pt x="525" y="5717"/>
                  </a:cubicBezTo>
                  <a:cubicBezTo>
                    <a:pt x="429" y="5717"/>
                    <a:pt x="358" y="5646"/>
                    <a:pt x="346" y="5550"/>
                  </a:cubicBezTo>
                  <a:cubicBezTo>
                    <a:pt x="346" y="5467"/>
                    <a:pt x="417" y="5372"/>
                    <a:pt x="501" y="5372"/>
                  </a:cubicBezTo>
                  <a:cubicBezTo>
                    <a:pt x="525" y="5372"/>
                    <a:pt x="1858" y="5336"/>
                    <a:pt x="3596" y="4705"/>
                  </a:cubicBezTo>
                  <a:cubicBezTo>
                    <a:pt x="5061" y="4181"/>
                    <a:pt x="7144" y="3133"/>
                    <a:pt x="8835" y="1014"/>
                  </a:cubicBezTo>
                  <a:cubicBezTo>
                    <a:pt x="8927" y="911"/>
                    <a:pt x="8842" y="763"/>
                    <a:pt x="8718" y="763"/>
                  </a:cubicBezTo>
                  <a:cubicBezTo>
                    <a:pt x="8714" y="763"/>
                    <a:pt x="8709" y="764"/>
                    <a:pt x="8704" y="764"/>
                  </a:cubicBezTo>
                  <a:lnTo>
                    <a:pt x="8216" y="824"/>
                  </a:lnTo>
                  <a:cubicBezTo>
                    <a:pt x="8208" y="825"/>
                    <a:pt x="8200" y="825"/>
                    <a:pt x="8192" y="825"/>
                  </a:cubicBezTo>
                  <a:cubicBezTo>
                    <a:pt x="8109" y="825"/>
                    <a:pt x="8047" y="769"/>
                    <a:pt x="8025" y="693"/>
                  </a:cubicBezTo>
                  <a:cubicBezTo>
                    <a:pt x="7990" y="586"/>
                    <a:pt x="8061" y="478"/>
                    <a:pt x="8168" y="478"/>
                  </a:cubicBezTo>
                  <a:lnTo>
                    <a:pt x="9478" y="312"/>
                  </a:lnTo>
                  <a:cubicBezTo>
                    <a:pt x="9484" y="311"/>
                    <a:pt x="9490" y="311"/>
                    <a:pt x="9496" y="311"/>
                  </a:cubicBezTo>
                  <a:cubicBezTo>
                    <a:pt x="9594" y="311"/>
                    <a:pt x="9669" y="400"/>
                    <a:pt x="9669" y="490"/>
                  </a:cubicBezTo>
                  <a:lnTo>
                    <a:pt x="9669" y="1800"/>
                  </a:lnTo>
                  <a:cubicBezTo>
                    <a:pt x="9669" y="1895"/>
                    <a:pt x="9597" y="1979"/>
                    <a:pt x="9490" y="1979"/>
                  </a:cubicBezTo>
                  <a:cubicBezTo>
                    <a:pt x="9407" y="1979"/>
                    <a:pt x="9311" y="1907"/>
                    <a:pt x="9311" y="1800"/>
                  </a:cubicBezTo>
                  <a:lnTo>
                    <a:pt x="9311" y="1407"/>
                  </a:lnTo>
                  <a:cubicBezTo>
                    <a:pt x="9311" y="1348"/>
                    <a:pt x="9264" y="1288"/>
                    <a:pt x="9204" y="1252"/>
                  </a:cubicBezTo>
                  <a:cubicBezTo>
                    <a:pt x="9187" y="1242"/>
                    <a:pt x="9169" y="1238"/>
                    <a:pt x="9152" y="1238"/>
                  </a:cubicBezTo>
                  <a:cubicBezTo>
                    <a:pt x="9106" y="1238"/>
                    <a:pt x="9060" y="1266"/>
                    <a:pt x="9026" y="1300"/>
                  </a:cubicBezTo>
                  <a:cubicBezTo>
                    <a:pt x="8466" y="2002"/>
                    <a:pt x="7811" y="2633"/>
                    <a:pt x="7097" y="3193"/>
                  </a:cubicBezTo>
                  <a:cubicBezTo>
                    <a:pt x="7037" y="3229"/>
                    <a:pt x="7025" y="3336"/>
                    <a:pt x="7061" y="3395"/>
                  </a:cubicBezTo>
                  <a:cubicBezTo>
                    <a:pt x="7091" y="3433"/>
                    <a:pt x="7144" y="3451"/>
                    <a:pt x="7194" y="3451"/>
                  </a:cubicBezTo>
                  <a:cubicBezTo>
                    <a:pt x="7224" y="3451"/>
                    <a:pt x="7253" y="3445"/>
                    <a:pt x="7275" y="3431"/>
                  </a:cubicBezTo>
                  <a:cubicBezTo>
                    <a:pt x="7895" y="2943"/>
                    <a:pt x="8466" y="2419"/>
                    <a:pt x="8990" y="1824"/>
                  </a:cubicBezTo>
                  <a:cubicBezTo>
                    <a:pt x="9002" y="2074"/>
                    <a:pt x="9204" y="2276"/>
                    <a:pt x="9466" y="2276"/>
                  </a:cubicBezTo>
                  <a:cubicBezTo>
                    <a:pt x="9728" y="2276"/>
                    <a:pt x="9942" y="2074"/>
                    <a:pt x="9942" y="1800"/>
                  </a:cubicBezTo>
                  <a:lnTo>
                    <a:pt x="9942" y="478"/>
                  </a:lnTo>
                  <a:cubicBezTo>
                    <a:pt x="9942" y="347"/>
                    <a:pt x="9883" y="216"/>
                    <a:pt x="9776" y="121"/>
                  </a:cubicBezTo>
                  <a:cubicBezTo>
                    <a:pt x="9679" y="46"/>
                    <a:pt x="9564" y="0"/>
                    <a:pt x="9447" y="0"/>
                  </a:cubicBezTo>
                  <a:close/>
                </a:path>
              </a:pathLst>
            </a:custGeom>
            <a:grpFill/>
            <a:ln>
              <a:solidFill>
                <a:srgbClr val="5AC6CC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000000"/>
                </a:solidFill>
                <a:latin typeface="Montserrat Light" panose="00000400000000000000" pitchFamily="2" charset="-52"/>
              </a:endParaRPr>
            </a:p>
          </p:txBody>
        </p:sp>
      </p:grpSp>
      <p:grpSp>
        <p:nvGrpSpPr>
          <p:cNvPr id="70" name="Группа 69">
            <a:extLst>
              <a:ext uri="{FF2B5EF4-FFF2-40B4-BE49-F238E27FC236}">
                <a16:creationId xmlns:a16="http://schemas.microsoft.com/office/drawing/2014/main" id="{BD647A72-C186-4685-95CD-7C9BD41E2E31}"/>
              </a:ext>
            </a:extLst>
          </p:cNvPr>
          <p:cNvGrpSpPr/>
          <p:nvPr/>
        </p:nvGrpSpPr>
        <p:grpSpPr>
          <a:xfrm>
            <a:off x="439990" y="3166287"/>
            <a:ext cx="733144" cy="699156"/>
            <a:chOff x="4798570" y="4005203"/>
            <a:chExt cx="593839" cy="594592"/>
          </a:xfrm>
          <a:solidFill>
            <a:srgbClr val="5AC6CC"/>
          </a:solidFill>
        </p:grpSpPr>
        <p:sp>
          <p:nvSpPr>
            <p:cNvPr id="71" name="Freeform 5">
              <a:extLst>
                <a:ext uri="{FF2B5EF4-FFF2-40B4-BE49-F238E27FC236}">
                  <a16:creationId xmlns:a16="http://schemas.microsoft.com/office/drawing/2014/main" id="{A47B9205-D035-4D0D-9A49-305EBAF112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8570" y="4006709"/>
              <a:ext cx="592145" cy="592709"/>
            </a:xfrm>
            <a:custGeom>
              <a:avLst/>
              <a:gdLst>
                <a:gd name="T0" fmla="*/ 842 w 1679"/>
                <a:gd name="T1" fmla="*/ 772 h 1679"/>
                <a:gd name="T2" fmla="*/ 409 w 1679"/>
                <a:gd name="T3" fmla="*/ 1265 h 1679"/>
                <a:gd name="T4" fmla="*/ 237 w 1679"/>
                <a:gd name="T5" fmla="*/ 1269 h 1679"/>
                <a:gd name="T6" fmla="*/ 432 w 1679"/>
                <a:gd name="T7" fmla="*/ 1324 h 1679"/>
                <a:gd name="T8" fmla="*/ 187 w 1679"/>
                <a:gd name="T9" fmla="*/ 1375 h 1679"/>
                <a:gd name="T10" fmla="*/ 209 w 1679"/>
                <a:gd name="T11" fmla="*/ 1351 h 1679"/>
                <a:gd name="T12" fmla="*/ 438 w 1679"/>
                <a:gd name="T13" fmla="*/ 1398 h 1679"/>
                <a:gd name="T14" fmla="*/ 864 w 1679"/>
                <a:gd name="T15" fmla="*/ 982 h 1679"/>
                <a:gd name="T16" fmla="*/ 548 w 1679"/>
                <a:gd name="T17" fmla="*/ 1163 h 1679"/>
                <a:gd name="T18" fmla="*/ 115 w 1679"/>
                <a:gd name="T19" fmla="*/ 1146 h 1679"/>
                <a:gd name="T20" fmla="*/ 756 w 1679"/>
                <a:gd name="T21" fmla="*/ 924 h 1679"/>
                <a:gd name="T22" fmla="*/ 490 w 1679"/>
                <a:gd name="T23" fmla="*/ 1360 h 1679"/>
                <a:gd name="T24" fmla="*/ 433 w 1679"/>
                <a:gd name="T25" fmla="*/ 1257 h 1679"/>
                <a:gd name="T26" fmla="*/ 358 w 1679"/>
                <a:gd name="T27" fmla="*/ 1232 h 1679"/>
                <a:gd name="T28" fmla="*/ 345 w 1679"/>
                <a:gd name="T29" fmla="*/ 1203 h 1679"/>
                <a:gd name="T30" fmla="*/ 291 w 1679"/>
                <a:gd name="T31" fmla="*/ 1232 h 1679"/>
                <a:gd name="T32" fmla="*/ 190 w 1679"/>
                <a:gd name="T33" fmla="*/ 1321 h 1679"/>
                <a:gd name="T34" fmla="*/ 158 w 1679"/>
                <a:gd name="T35" fmla="*/ 1445 h 1679"/>
                <a:gd name="T36" fmla="*/ 184 w 1679"/>
                <a:gd name="T37" fmla="*/ 1454 h 1679"/>
                <a:gd name="T38" fmla="*/ 234 w 1679"/>
                <a:gd name="T39" fmla="*/ 1480 h 1679"/>
                <a:gd name="T40" fmla="*/ 413 w 1679"/>
                <a:gd name="T41" fmla="*/ 1480 h 1679"/>
                <a:gd name="T42" fmla="*/ 464 w 1679"/>
                <a:gd name="T43" fmla="*/ 1453 h 1679"/>
                <a:gd name="T44" fmla="*/ 1468 w 1679"/>
                <a:gd name="T45" fmla="*/ 305 h 1679"/>
                <a:gd name="T46" fmla="*/ 1333 w 1679"/>
                <a:gd name="T47" fmla="*/ 217 h 1679"/>
                <a:gd name="T48" fmla="*/ 1243 w 1679"/>
                <a:gd name="T49" fmla="*/ 303 h 1679"/>
                <a:gd name="T50" fmla="*/ 1455 w 1679"/>
                <a:gd name="T51" fmla="*/ 319 h 1679"/>
                <a:gd name="T52" fmla="*/ 1356 w 1679"/>
                <a:gd name="T53" fmla="*/ 200 h 1679"/>
                <a:gd name="T54" fmla="*/ 1412 w 1679"/>
                <a:gd name="T55" fmla="*/ 185 h 1679"/>
                <a:gd name="T56" fmla="*/ 1291 w 1679"/>
                <a:gd name="T57" fmla="*/ 192 h 1679"/>
                <a:gd name="T58" fmla="*/ 1243 w 1679"/>
                <a:gd name="T59" fmla="*/ 384 h 1679"/>
                <a:gd name="T60" fmla="*/ 1262 w 1679"/>
                <a:gd name="T61" fmla="*/ 366 h 1679"/>
                <a:gd name="T62" fmla="*/ 959 w 1679"/>
                <a:gd name="T63" fmla="*/ 752 h 1679"/>
                <a:gd name="T64" fmla="*/ 842 w 1679"/>
                <a:gd name="T65" fmla="*/ 716 h 1679"/>
                <a:gd name="T66" fmla="*/ 943 w 1679"/>
                <a:gd name="T67" fmla="*/ 706 h 1679"/>
                <a:gd name="T68" fmla="*/ 1564 w 1679"/>
                <a:gd name="T69" fmla="*/ 115 h 1679"/>
                <a:gd name="T70" fmla="*/ 1492 w 1679"/>
                <a:gd name="T71" fmla="*/ 307 h 1679"/>
                <a:gd name="T72" fmla="*/ 1456 w 1679"/>
                <a:gd name="T73" fmla="*/ 180 h 1679"/>
                <a:gd name="T74" fmla="*/ 1253 w 1679"/>
                <a:gd name="T75" fmla="*/ 180 h 1679"/>
                <a:gd name="T76" fmla="*/ 1219 w 1679"/>
                <a:gd name="T77" fmla="*/ 312 h 1679"/>
                <a:gd name="T78" fmla="*/ 1242 w 1679"/>
                <a:gd name="T79" fmla="*/ 448 h 1679"/>
                <a:gd name="T80" fmla="*/ 1281 w 1679"/>
                <a:gd name="T81" fmla="*/ 467 h 1679"/>
                <a:gd name="T82" fmla="*/ 1430 w 1679"/>
                <a:gd name="T83" fmla="*/ 472 h 1679"/>
                <a:gd name="T84" fmla="*/ 1469 w 1679"/>
                <a:gd name="T85" fmla="*/ 466 h 1679"/>
                <a:gd name="T86" fmla="*/ 1491 w 1679"/>
                <a:gd name="T87" fmla="*/ 447 h 1679"/>
                <a:gd name="T88" fmla="*/ 1431 w 1679"/>
                <a:gd name="T89" fmla="*/ 385 h 1679"/>
                <a:gd name="T90" fmla="*/ 1450 w 1679"/>
                <a:gd name="T91" fmla="*/ 366 h 1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679" h="1679">
                  <a:moveTo>
                    <a:pt x="842" y="904"/>
                  </a:moveTo>
                  <a:cubicBezTo>
                    <a:pt x="806" y="904"/>
                    <a:pt x="776" y="874"/>
                    <a:pt x="776" y="838"/>
                  </a:cubicBezTo>
                  <a:cubicBezTo>
                    <a:pt x="776" y="802"/>
                    <a:pt x="806" y="772"/>
                    <a:pt x="842" y="772"/>
                  </a:cubicBezTo>
                  <a:cubicBezTo>
                    <a:pt x="878" y="772"/>
                    <a:pt x="908" y="802"/>
                    <a:pt x="908" y="838"/>
                  </a:cubicBezTo>
                  <a:cubicBezTo>
                    <a:pt x="908" y="874"/>
                    <a:pt x="878" y="904"/>
                    <a:pt x="842" y="904"/>
                  </a:cubicBezTo>
                  <a:close/>
                  <a:moveTo>
                    <a:pt x="409" y="1265"/>
                  </a:moveTo>
                  <a:cubicBezTo>
                    <a:pt x="406" y="1259"/>
                    <a:pt x="400" y="1257"/>
                    <a:pt x="394" y="1257"/>
                  </a:cubicBezTo>
                  <a:cubicBezTo>
                    <a:pt x="347" y="1257"/>
                    <a:pt x="301" y="1257"/>
                    <a:pt x="254" y="1257"/>
                  </a:cubicBezTo>
                  <a:cubicBezTo>
                    <a:pt x="245" y="1257"/>
                    <a:pt x="240" y="1261"/>
                    <a:pt x="237" y="1269"/>
                  </a:cubicBezTo>
                  <a:cubicBezTo>
                    <a:pt x="233" y="1280"/>
                    <a:pt x="229" y="1290"/>
                    <a:pt x="225" y="1301"/>
                  </a:cubicBezTo>
                  <a:cubicBezTo>
                    <a:pt x="222" y="1309"/>
                    <a:pt x="219" y="1316"/>
                    <a:pt x="216" y="1324"/>
                  </a:cubicBezTo>
                  <a:cubicBezTo>
                    <a:pt x="288" y="1324"/>
                    <a:pt x="360" y="1324"/>
                    <a:pt x="432" y="1324"/>
                  </a:cubicBezTo>
                  <a:cubicBezTo>
                    <a:pt x="424" y="1304"/>
                    <a:pt x="416" y="1284"/>
                    <a:pt x="409" y="1265"/>
                  </a:cubicBezTo>
                  <a:close/>
                  <a:moveTo>
                    <a:pt x="209" y="1351"/>
                  </a:moveTo>
                  <a:cubicBezTo>
                    <a:pt x="197" y="1351"/>
                    <a:pt x="187" y="1362"/>
                    <a:pt x="187" y="1375"/>
                  </a:cubicBezTo>
                  <a:cubicBezTo>
                    <a:pt x="187" y="1388"/>
                    <a:pt x="197" y="1398"/>
                    <a:pt x="210" y="1398"/>
                  </a:cubicBezTo>
                  <a:cubicBezTo>
                    <a:pt x="223" y="1398"/>
                    <a:pt x="233" y="1388"/>
                    <a:pt x="233" y="1375"/>
                  </a:cubicBezTo>
                  <a:cubicBezTo>
                    <a:pt x="233" y="1362"/>
                    <a:pt x="222" y="1351"/>
                    <a:pt x="209" y="1351"/>
                  </a:cubicBezTo>
                  <a:close/>
                  <a:moveTo>
                    <a:pt x="437" y="1351"/>
                  </a:moveTo>
                  <a:cubicBezTo>
                    <a:pt x="425" y="1351"/>
                    <a:pt x="415" y="1362"/>
                    <a:pt x="415" y="1375"/>
                  </a:cubicBezTo>
                  <a:cubicBezTo>
                    <a:pt x="415" y="1388"/>
                    <a:pt x="425" y="1398"/>
                    <a:pt x="438" y="1398"/>
                  </a:cubicBezTo>
                  <a:cubicBezTo>
                    <a:pt x="450" y="1398"/>
                    <a:pt x="461" y="1388"/>
                    <a:pt x="461" y="1375"/>
                  </a:cubicBezTo>
                  <a:cubicBezTo>
                    <a:pt x="461" y="1362"/>
                    <a:pt x="450" y="1351"/>
                    <a:pt x="437" y="1351"/>
                  </a:cubicBezTo>
                  <a:close/>
                  <a:moveTo>
                    <a:pt x="864" y="982"/>
                  </a:moveTo>
                  <a:cubicBezTo>
                    <a:pt x="864" y="994"/>
                    <a:pt x="854" y="1004"/>
                    <a:pt x="842" y="1004"/>
                  </a:cubicBezTo>
                  <a:cubicBezTo>
                    <a:pt x="805" y="1004"/>
                    <a:pt x="770" y="992"/>
                    <a:pt x="741" y="970"/>
                  </a:cubicBezTo>
                  <a:cubicBezTo>
                    <a:pt x="548" y="1163"/>
                    <a:pt x="548" y="1163"/>
                    <a:pt x="548" y="1163"/>
                  </a:cubicBezTo>
                  <a:cubicBezTo>
                    <a:pt x="648" y="1279"/>
                    <a:pt x="643" y="1454"/>
                    <a:pt x="533" y="1564"/>
                  </a:cubicBezTo>
                  <a:cubicBezTo>
                    <a:pt x="418" y="1679"/>
                    <a:pt x="231" y="1679"/>
                    <a:pt x="115" y="1564"/>
                  </a:cubicBezTo>
                  <a:cubicBezTo>
                    <a:pt x="0" y="1449"/>
                    <a:pt x="0" y="1262"/>
                    <a:pt x="115" y="1146"/>
                  </a:cubicBezTo>
                  <a:cubicBezTo>
                    <a:pt x="225" y="1036"/>
                    <a:pt x="401" y="1031"/>
                    <a:pt x="517" y="1132"/>
                  </a:cubicBezTo>
                  <a:cubicBezTo>
                    <a:pt x="725" y="924"/>
                    <a:pt x="725" y="924"/>
                    <a:pt x="725" y="924"/>
                  </a:cubicBezTo>
                  <a:cubicBezTo>
                    <a:pt x="733" y="916"/>
                    <a:pt x="747" y="916"/>
                    <a:pt x="756" y="924"/>
                  </a:cubicBezTo>
                  <a:cubicBezTo>
                    <a:pt x="779" y="947"/>
                    <a:pt x="809" y="960"/>
                    <a:pt x="842" y="960"/>
                  </a:cubicBezTo>
                  <a:cubicBezTo>
                    <a:pt x="854" y="960"/>
                    <a:pt x="864" y="970"/>
                    <a:pt x="864" y="982"/>
                  </a:cubicBezTo>
                  <a:close/>
                  <a:moveTo>
                    <a:pt x="490" y="1360"/>
                  </a:moveTo>
                  <a:cubicBezTo>
                    <a:pt x="489" y="1344"/>
                    <a:pt x="480" y="1333"/>
                    <a:pt x="464" y="1327"/>
                  </a:cubicBezTo>
                  <a:cubicBezTo>
                    <a:pt x="462" y="1326"/>
                    <a:pt x="459" y="1323"/>
                    <a:pt x="458" y="1321"/>
                  </a:cubicBezTo>
                  <a:cubicBezTo>
                    <a:pt x="450" y="1300"/>
                    <a:pt x="441" y="1278"/>
                    <a:pt x="433" y="1257"/>
                  </a:cubicBezTo>
                  <a:cubicBezTo>
                    <a:pt x="427" y="1241"/>
                    <a:pt x="415" y="1232"/>
                    <a:pt x="397" y="1232"/>
                  </a:cubicBezTo>
                  <a:cubicBezTo>
                    <a:pt x="388" y="1231"/>
                    <a:pt x="379" y="1232"/>
                    <a:pt x="370" y="1232"/>
                  </a:cubicBezTo>
                  <a:cubicBezTo>
                    <a:pt x="366" y="1232"/>
                    <a:pt x="362" y="1232"/>
                    <a:pt x="358" y="1232"/>
                  </a:cubicBezTo>
                  <a:cubicBezTo>
                    <a:pt x="357" y="1230"/>
                    <a:pt x="357" y="1230"/>
                    <a:pt x="357" y="1230"/>
                  </a:cubicBezTo>
                  <a:cubicBezTo>
                    <a:pt x="357" y="1224"/>
                    <a:pt x="357" y="1219"/>
                    <a:pt x="357" y="1214"/>
                  </a:cubicBezTo>
                  <a:cubicBezTo>
                    <a:pt x="356" y="1206"/>
                    <a:pt x="354" y="1203"/>
                    <a:pt x="345" y="1203"/>
                  </a:cubicBezTo>
                  <a:cubicBezTo>
                    <a:pt x="332" y="1203"/>
                    <a:pt x="317" y="1203"/>
                    <a:pt x="304" y="1203"/>
                  </a:cubicBezTo>
                  <a:cubicBezTo>
                    <a:pt x="294" y="1203"/>
                    <a:pt x="291" y="1206"/>
                    <a:pt x="291" y="1216"/>
                  </a:cubicBezTo>
                  <a:cubicBezTo>
                    <a:pt x="291" y="1221"/>
                    <a:pt x="291" y="1226"/>
                    <a:pt x="291" y="1232"/>
                  </a:cubicBezTo>
                  <a:cubicBezTo>
                    <a:pt x="277" y="1232"/>
                    <a:pt x="265" y="1232"/>
                    <a:pt x="254" y="1232"/>
                  </a:cubicBezTo>
                  <a:cubicBezTo>
                    <a:pt x="233" y="1232"/>
                    <a:pt x="222" y="1239"/>
                    <a:pt x="214" y="1259"/>
                  </a:cubicBezTo>
                  <a:cubicBezTo>
                    <a:pt x="206" y="1280"/>
                    <a:pt x="197" y="1300"/>
                    <a:pt x="190" y="1321"/>
                  </a:cubicBezTo>
                  <a:cubicBezTo>
                    <a:pt x="189" y="1323"/>
                    <a:pt x="186" y="1326"/>
                    <a:pt x="184" y="1327"/>
                  </a:cubicBezTo>
                  <a:cubicBezTo>
                    <a:pt x="167" y="1334"/>
                    <a:pt x="158" y="1347"/>
                    <a:pt x="158" y="1365"/>
                  </a:cubicBezTo>
                  <a:cubicBezTo>
                    <a:pt x="158" y="1392"/>
                    <a:pt x="158" y="1419"/>
                    <a:pt x="158" y="1445"/>
                  </a:cubicBezTo>
                  <a:cubicBezTo>
                    <a:pt x="158" y="1448"/>
                    <a:pt x="158" y="1450"/>
                    <a:pt x="158" y="1453"/>
                  </a:cubicBezTo>
                  <a:cubicBezTo>
                    <a:pt x="167" y="1453"/>
                    <a:pt x="175" y="1453"/>
                    <a:pt x="183" y="1453"/>
                  </a:cubicBezTo>
                  <a:cubicBezTo>
                    <a:pt x="184" y="1454"/>
                    <a:pt x="184" y="1454"/>
                    <a:pt x="184" y="1454"/>
                  </a:cubicBezTo>
                  <a:cubicBezTo>
                    <a:pt x="184" y="1463"/>
                    <a:pt x="184" y="1473"/>
                    <a:pt x="184" y="1482"/>
                  </a:cubicBezTo>
                  <a:cubicBezTo>
                    <a:pt x="184" y="1494"/>
                    <a:pt x="191" y="1502"/>
                    <a:pt x="201" y="1506"/>
                  </a:cubicBezTo>
                  <a:cubicBezTo>
                    <a:pt x="218" y="1511"/>
                    <a:pt x="233" y="1500"/>
                    <a:pt x="234" y="1480"/>
                  </a:cubicBezTo>
                  <a:cubicBezTo>
                    <a:pt x="234" y="1471"/>
                    <a:pt x="234" y="1462"/>
                    <a:pt x="234" y="1453"/>
                  </a:cubicBezTo>
                  <a:cubicBezTo>
                    <a:pt x="294" y="1453"/>
                    <a:pt x="353" y="1453"/>
                    <a:pt x="413" y="1453"/>
                  </a:cubicBezTo>
                  <a:cubicBezTo>
                    <a:pt x="413" y="1462"/>
                    <a:pt x="413" y="1471"/>
                    <a:pt x="413" y="1480"/>
                  </a:cubicBezTo>
                  <a:cubicBezTo>
                    <a:pt x="413" y="1492"/>
                    <a:pt x="419" y="1501"/>
                    <a:pt x="430" y="1505"/>
                  </a:cubicBezTo>
                  <a:cubicBezTo>
                    <a:pt x="446" y="1512"/>
                    <a:pt x="463" y="1500"/>
                    <a:pt x="464" y="1482"/>
                  </a:cubicBezTo>
                  <a:cubicBezTo>
                    <a:pt x="464" y="1472"/>
                    <a:pt x="464" y="1463"/>
                    <a:pt x="464" y="1453"/>
                  </a:cubicBezTo>
                  <a:cubicBezTo>
                    <a:pt x="473" y="1453"/>
                    <a:pt x="481" y="1453"/>
                    <a:pt x="490" y="1453"/>
                  </a:cubicBezTo>
                  <a:cubicBezTo>
                    <a:pt x="490" y="1421"/>
                    <a:pt x="491" y="1391"/>
                    <a:pt x="490" y="1360"/>
                  </a:cubicBezTo>
                  <a:close/>
                  <a:moveTo>
                    <a:pt x="1468" y="305"/>
                  </a:moveTo>
                  <a:cubicBezTo>
                    <a:pt x="1465" y="281"/>
                    <a:pt x="1462" y="258"/>
                    <a:pt x="1458" y="234"/>
                  </a:cubicBezTo>
                  <a:cubicBezTo>
                    <a:pt x="1456" y="220"/>
                    <a:pt x="1452" y="217"/>
                    <a:pt x="1439" y="217"/>
                  </a:cubicBezTo>
                  <a:cubicBezTo>
                    <a:pt x="1404" y="217"/>
                    <a:pt x="1368" y="217"/>
                    <a:pt x="1333" y="217"/>
                  </a:cubicBezTo>
                  <a:cubicBezTo>
                    <a:pt x="1312" y="217"/>
                    <a:pt x="1292" y="217"/>
                    <a:pt x="1271" y="217"/>
                  </a:cubicBezTo>
                  <a:cubicBezTo>
                    <a:pt x="1259" y="217"/>
                    <a:pt x="1255" y="221"/>
                    <a:pt x="1253" y="231"/>
                  </a:cubicBezTo>
                  <a:cubicBezTo>
                    <a:pt x="1250" y="255"/>
                    <a:pt x="1246" y="279"/>
                    <a:pt x="1243" y="303"/>
                  </a:cubicBezTo>
                  <a:cubicBezTo>
                    <a:pt x="1242" y="315"/>
                    <a:pt x="1245" y="319"/>
                    <a:pt x="1257" y="319"/>
                  </a:cubicBezTo>
                  <a:cubicBezTo>
                    <a:pt x="1290" y="319"/>
                    <a:pt x="1322" y="319"/>
                    <a:pt x="1355" y="319"/>
                  </a:cubicBezTo>
                  <a:cubicBezTo>
                    <a:pt x="1389" y="319"/>
                    <a:pt x="1422" y="319"/>
                    <a:pt x="1455" y="319"/>
                  </a:cubicBezTo>
                  <a:cubicBezTo>
                    <a:pt x="1465" y="319"/>
                    <a:pt x="1469" y="314"/>
                    <a:pt x="1468" y="305"/>
                  </a:cubicBezTo>
                  <a:close/>
                  <a:moveTo>
                    <a:pt x="1301" y="200"/>
                  </a:moveTo>
                  <a:cubicBezTo>
                    <a:pt x="1319" y="200"/>
                    <a:pt x="1337" y="200"/>
                    <a:pt x="1356" y="200"/>
                  </a:cubicBezTo>
                  <a:cubicBezTo>
                    <a:pt x="1374" y="200"/>
                    <a:pt x="1393" y="200"/>
                    <a:pt x="1411" y="200"/>
                  </a:cubicBezTo>
                  <a:cubicBezTo>
                    <a:pt x="1417" y="200"/>
                    <a:pt x="1419" y="198"/>
                    <a:pt x="1420" y="193"/>
                  </a:cubicBezTo>
                  <a:cubicBezTo>
                    <a:pt x="1420" y="188"/>
                    <a:pt x="1417" y="185"/>
                    <a:pt x="1412" y="185"/>
                  </a:cubicBezTo>
                  <a:cubicBezTo>
                    <a:pt x="1411" y="185"/>
                    <a:pt x="1410" y="185"/>
                    <a:pt x="1410" y="185"/>
                  </a:cubicBezTo>
                  <a:cubicBezTo>
                    <a:pt x="1374" y="185"/>
                    <a:pt x="1337" y="185"/>
                    <a:pt x="1301" y="185"/>
                  </a:cubicBezTo>
                  <a:cubicBezTo>
                    <a:pt x="1294" y="185"/>
                    <a:pt x="1291" y="187"/>
                    <a:pt x="1291" y="192"/>
                  </a:cubicBezTo>
                  <a:cubicBezTo>
                    <a:pt x="1291" y="198"/>
                    <a:pt x="1294" y="200"/>
                    <a:pt x="1301" y="200"/>
                  </a:cubicBezTo>
                  <a:close/>
                  <a:moveTo>
                    <a:pt x="1262" y="366"/>
                  </a:moveTo>
                  <a:cubicBezTo>
                    <a:pt x="1252" y="366"/>
                    <a:pt x="1243" y="374"/>
                    <a:pt x="1243" y="384"/>
                  </a:cubicBezTo>
                  <a:cubicBezTo>
                    <a:pt x="1242" y="395"/>
                    <a:pt x="1251" y="403"/>
                    <a:pt x="1261" y="403"/>
                  </a:cubicBezTo>
                  <a:cubicBezTo>
                    <a:pt x="1272" y="403"/>
                    <a:pt x="1280" y="395"/>
                    <a:pt x="1280" y="385"/>
                  </a:cubicBezTo>
                  <a:cubicBezTo>
                    <a:pt x="1280" y="375"/>
                    <a:pt x="1272" y="367"/>
                    <a:pt x="1262" y="366"/>
                  </a:cubicBezTo>
                  <a:close/>
                  <a:moveTo>
                    <a:pt x="1564" y="533"/>
                  </a:moveTo>
                  <a:cubicBezTo>
                    <a:pt x="1454" y="643"/>
                    <a:pt x="1279" y="648"/>
                    <a:pt x="1163" y="548"/>
                  </a:cubicBezTo>
                  <a:cubicBezTo>
                    <a:pt x="959" y="752"/>
                    <a:pt x="959" y="752"/>
                    <a:pt x="959" y="752"/>
                  </a:cubicBezTo>
                  <a:cubicBezTo>
                    <a:pt x="955" y="756"/>
                    <a:pt x="949" y="758"/>
                    <a:pt x="944" y="758"/>
                  </a:cubicBezTo>
                  <a:cubicBezTo>
                    <a:pt x="938" y="758"/>
                    <a:pt x="933" y="756"/>
                    <a:pt x="928" y="752"/>
                  </a:cubicBezTo>
                  <a:cubicBezTo>
                    <a:pt x="905" y="729"/>
                    <a:pt x="875" y="716"/>
                    <a:pt x="842" y="716"/>
                  </a:cubicBezTo>
                  <a:cubicBezTo>
                    <a:pt x="830" y="716"/>
                    <a:pt x="820" y="706"/>
                    <a:pt x="820" y="694"/>
                  </a:cubicBezTo>
                  <a:cubicBezTo>
                    <a:pt x="820" y="682"/>
                    <a:pt x="830" y="672"/>
                    <a:pt x="842" y="672"/>
                  </a:cubicBezTo>
                  <a:cubicBezTo>
                    <a:pt x="879" y="672"/>
                    <a:pt x="914" y="684"/>
                    <a:pt x="943" y="706"/>
                  </a:cubicBezTo>
                  <a:cubicBezTo>
                    <a:pt x="1132" y="517"/>
                    <a:pt x="1132" y="517"/>
                    <a:pt x="1132" y="517"/>
                  </a:cubicBezTo>
                  <a:cubicBezTo>
                    <a:pt x="1031" y="401"/>
                    <a:pt x="1036" y="225"/>
                    <a:pt x="1146" y="115"/>
                  </a:cubicBezTo>
                  <a:cubicBezTo>
                    <a:pt x="1262" y="0"/>
                    <a:pt x="1449" y="0"/>
                    <a:pt x="1564" y="115"/>
                  </a:cubicBezTo>
                  <a:cubicBezTo>
                    <a:pt x="1679" y="230"/>
                    <a:pt x="1679" y="417"/>
                    <a:pt x="1564" y="533"/>
                  </a:cubicBezTo>
                  <a:close/>
                  <a:moveTo>
                    <a:pt x="1492" y="445"/>
                  </a:moveTo>
                  <a:cubicBezTo>
                    <a:pt x="1492" y="399"/>
                    <a:pt x="1492" y="353"/>
                    <a:pt x="1492" y="307"/>
                  </a:cubicBezTo>
                  <a:cubicBezTo>
                    <a:pt x="1492" y="306"/>
                    <a:pt x="1492" y="306"/>
                    <a:pt x="1492" y="305"/>
                  </a:cubicBezTo>
                  <a:cubicBezTo>
                    <a:pt x="1487" y="275"/>
                    <a:pt x="1483" y="245"/>
                    <a:pt x="1480" y="215"/>
                  </a:cubicBezTo>
                  <a:cubicBezTo>
                    <a:pt x="1478" y="199"/>
                    <a:pt x="1471" y="187"/>
                    <a:pt x="1456" y="180"/>
                  </a:cubicBezTo>
                  <a:cubicBezTo>
                    <a:pt x="1450" y="177"/>
                    <a:pt x="1444" y="174"/>
                    <a:pt x="1437" y="172"/>
                  </a:cubicBezTo>
                  <a:cubicBezTo>
                    <a:pt x="1391" y="158"/>
                    <a:pt x="1345" y="155"/>
                    <a:pt x="1298" y="166"/>
                  </a:cubicBezTo>
                  <a:cubicBezTo>
                    <a:pt x="1283" y="169"/>
                    <a:pt x="1268" y="173"/>
                    <a:pt x="1253" y="180"/>
                  </a:cubicBezTo>
                  <a:cubicBezTo>
                    <a:pt x="1241" y="187"/>
                    <a:pt x="1234" y="196"/>
                    <a:pt x="1232" y="210"/>
                  </a:cubicBezTo>
                  <a:cubicBezTo>
                    <a:pt x="1229" y="231"/>
                    <a:pt x="1226" y="251"/>
                    <a:pt x="1224" y="271"/>
                  </a:cubicBezTo>
                  <a:cubicBezTo>
                    <a:pt x="1222" y="285"/>
                    <a:pt x="1219" y="299"/>
                    <a:pt x="1219" y="312"/>
                  </a:cubicBezTo>
                  <a:cubicBezTo>
                    <a:pt x="1219" y="355"/>
                    <a:pt x="1219" y="398"/>
                    <a:pt x="1219" y="441"/>
                  </a:cubicBezTo>
                  <a:cubicBezTo>
                    <a:pt x="1219" y="443"/>
                    <a:pt x="1219" y="444"/>
                    <a:pt x="1219" y="448"/>
                  </a:cubicBezTo>
                  <a:cubicBezTo>
                    <a:pt x="1227" y="448"/>
                    <a:pt x="1234" y="448"/>
                    <a:pt x="1242" y="448"/>
                  </a:cubicBezTo>
                  <a:cubicBezTo>
                    <a:pt x="1242" y="456"/>
                    <a:pt x="1242" y="464"/>
                    <a:pt x="1242" y="472"/>
                  </a:cubicBezTo>
                  <a:cubicBezTo>
                    <a:pt x="1243" y="480"/>
                    <a:pt x="1248" y="487"/>
                    <a:pt x="1255" y="487"/>
                  </a:cubicBezTo>
                  <a:cubicBezTo>
                    <a:pt x="1271" y="490"/>
                    <a:pt x="1281" y="483"/>
                    <a:pt x="1281" y="467"/>
                  </a:cubicBezTo>
                  <a:cubicBezTo>
                    <a:pt x="1281" y="461"/>
                    <a:pt x="1281" y="454"/>
                    <a:pt x="1281" y="448"/>
                  </a:cubicBezTo>
                  <a:cubicBezTo>
                    <a:pt x="1331" y="448"/>
                    <a:pt x="1380" y="448"/>
                    <a:pt x="1430" y="448"/>
                  </a:cubicBezTo>
                  <a:cubicBezTo>
                    <a:pt x="1430" y="456"/>
                    <a:pt x="1430" y="464"/>
                    <a:pt x="1430" y="472"/>
                  </a:cubicBezTo>
                  <a:cubicBezTo>
                    <a:pt x="1431" y="480"/>
                    <a:pt x="1438" y="487"/>
                    <a:pt x="1444" y="488"/>
                  </a:cubicBezTo>
                  <a:cubicBezTo>
                    <a:pt x="1455" y="490"/>
                    <a:pt x="1463" y="486"/>
                    <a:pt x="1467" y="478"/>
                  </a:cubicBezTo>
                  <a:cubicBezTo>
                    <a:pt x="1468" y="474"/>
                    <a:pt x="1469" y="470"/>
                    <a:pt x="1469" y="466"/>
                  </a:cubicBezTo>
                  <a:cubicBezTo>
                    <a:pt x="1469" y="460"/>
                    <a:pt x="1469" y="454"/>
                    <a:pt x="1469" y="447"/>
                  </a:cubicBezTo>
                  <a:cubicBezTo>
                    <a:pt x="1473" y="447"/>
                    <a:pt x="1477" y="447"/>
                    <a:pt x="1480" y="447"/>
                  </a:cubicBezTo>
                  <a:cubicBezTo>
                    <a:pt x="1484" y="447"/>
                    <a:pt x="1487" y="447"/>
                    <a:pt x="1491" y="447"/>
                  </a:cubicBezTo>
                  <a:cubicBezTo>
                    <a:pt x="1492" y="446"/>
                    <a:pt x="1492" y="446"/>
                    <a:pt x="1492" y="445"/>
                  </a:cubicBezTo>
                  <a:close/>
                  <a:moveTo>
                    <a:pt x="1450" y="366"/>
                  </a:moveTo>
                  <a:cubicBezTo>
                    <a:pt x="1439" y="366"/>
                    <a:pt x="1431" y="374"/>
                    <a:pt x="1431" y="385"/>
                  </a:cubicBezTo>
                  <a:cubicBezTo>
                    <a:pt x="1431" y="395"/>
                    <a:pt x="1439" y="403"/>
                    <a:pt x="1449" y="403"/>
                  </a:cubicBezTo>
                  <a:cubicBezTo>
                    <a:pt x="1460" y="403"/>
                    <a:pt x="1468" y="395"/>
                    <a:pt x="1468" y="385"/>
                  </a:cubicBezTo>
                  <a:cubicBezTo>
                    <a:pt x="1468" y="375"/>
                    <a:pt x="1460" y="366"/>
                    <a:pt x="1450" y="3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-52"/>
              </a:endParaRPr>
            </a:p>
          </p:txBody>
        </p:sp>
        <p:sp>
          <p:nvSpPr>
            <p:cNvPr id="72" name="Freeform 6">
              <a:extLst>
                <a:ext uri="{FF2B5EF4-FFF2-40B4-BE49-F238E27FC236}">
                  <a16:creationId xmlns:a16="http://schemas.microsoft.com/office/drawing/2014/main" id="{6F6AF0F9-C495-4FAA-9551-89E4634F3D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8570" y="4005203"/>
              <a:ext cx="593839" cy="594592"/>
            </a:xfrm>
            <a:custGeom>
              <a:avLst/>
              <a:gdLst>
                <a:gd name="T0" fmla="*/ 548 w 1684"/>
                <a:gd name="T1" fmla="*/ 517 h 1684"/>
                <a:gd name="T2" fmla="*/ 115 w 1684"/>
                <a:gd name="T3" fmla="*/ 115 h 1684"/>
                <a:gd name="T4" fmla="*/ 517 w 1684"/>
                <a:gd name="T5" fmla="*/ 548 h 1684"/>
                <a:gd name="T6" fmla="*/ 676 w 1684"/>
                <a:gd name="T7" fmla="*/ 842 h 1684"/>
                <a:gd name="T8" fmla="*/ 720 w 1684"/>
                <a:gd name="T9" fmla="*/ 842 h 1684"/>
                <a:gd name="T10" fmla="*/ 756 w 1684"/>
                <a:gd name="T11" fmla="*/ 725 h 1684"/>
                <a:gd name="T12" fmla="*/ 479 w 1684"/>
                <a:gd name="T13" fmla="*/ 319 h 1684"/>
                <a:gd name="T14" fmla="*/ 253 w 1684"/>
                <a:gd name="T15" fmla="*/ 437 h 1684"/>
                <a:gd name="T16" fmla="*/ 151 w 1684"/>
                <a:gd name="T17" fmla="*/ 390 h 1684"/>
                <a:gd name="T18" fmla="*/ 155 w 1684"/>
                <a:gd name="T19" fmla="*/ 355 h 1684"/>
                <a:gd name="T20" fmla="*/ 216 w 1684"/>
                <a:gd name="T21" fmla="*/ 373 h 1684"/>
                <a:gd name="T22" fmla="*/ 293 w 1684"/>
                <a:gd name="T23" fmla="*/ 336 h 1684"/>
                <a:gd name="T24" fmla="*/ 157 w 1684"/>
                <a:gd name="T25" fmla="*/ 257 h 1684"/>
                <a:gd name="T26" fmla="*/ 198 w 1684"/>
                <a:gd name="T27" fmla="*/ 239 h 1684"/>
                <a:gd name="T28" fmla="*/ 379 w 1684"/>
                <a:gd name="T29" fmla="*/ 291 h 1684"/>
                <a:gd name="T30" fmla="*/ 510 w 1684"/>
                <a:gd name="T31" fmla="*/ 246 h 1684"/>
                <a:gd name="T32" fmla="*/ 1418 w 1684"/>
                <a:gd name="T33" fmla="*/ 1489 h 1684"/>
                <a:gd name="T34" fmla="*/ 1313 w 1684"/>
                <a:gd name="T35" fmla="*/ 1479 h 1684"/>
                <a:gd name="T36" fmla="*/ 1418 w 1684"/>
                <a:gd name="T37" fmla="*/ 1489 h 1684"/>
                <a:gd name="T38" fmla="*/ 1167 w 1684"/>
                <a:gd name="T39" fmla="*/ 1136 h 1684"/>
                <a:gd name="T40" fmla="*/ 1008 w 1684"/>
                <a:gd name="T41" fmla="*/ 842 h 1684"/>
                <a:gd name="T42" fmla="*/ 964 w 1684"/>
                <a:gd name="T43" fmla="*/ 842 h 1684"/>
                <a:gd name="T44" fmla="*/ 928 w 1684"/>
                <a:gd name="T45" fmla="*/ 959 h 1684"/>
                <a:gd name="T46" fmla="*/ 1151 w 1684"/>
                <a:gd name="T47" fmla="*/ 1569 h 1684"/>
                <a:gd name="T48" fmla="*/ 1569 w 1684"/>
                <a:gd name="T49" fmla="*/ 1151 h 1684"/>
                <a:gd name="T50" fmla="*/ 1451 w 1684"/>
                <a:gd name="T51" fmla="*/ 1436 h 1684"/>
                <a:gd name="T52" fmla="*/ 1418 w 1684"/>
                <a:gd name="T53" fmla="*/ 1461 h 1684"/>
                <a:gd name="T54" fmla="*/ 1456 w 1684"/>
                <a:gd name="T55" fmla="*/ 1530 h 1684"/>
                <a:gd name="T56" fmla="*/ 1425 w 1684"/>
                <a:gd name="T57" fmla="*/ 1501 h 1684"/>
                <a:gd name="T58" fmla="*/ 1300 w 1684"/>
                <a:gd name="T59" fmla="*/ 1500 h 1684"/>
                <a:gd name="T60" fmla="*/ 1272 w 1684"/>
                <a:gd name="T61" fmla="*/ 1529 h 1684"/>
                <a:gd name="T62" fmla="*/ 1261 w 1684"/>
                <a:gd name="T63" fmla="*/ 1521 h 1684"/>
                <a:gd name="T64" fmla="*/ 1282 w 1684"/>
                <a:gd name="T65" fmla="*/ 1454 h 1684"/>
                <a:gd name="T66" fmla="*/ 1264 w 1684"/>
                <a:gd name="T67" fmla="*/ 1429 h 1684"/>
                <a:gd name="T68" fmla="*/ 1254 w 1684"/>
                <a:gd name="T69" fmla="*/ 1233 h 1684"/>
                <a:gd name="T70" fmla="*/ 1317 w 1684"/>
                <a:gd name="T71" fmla="*/ 1194 h 1684"/>
                <a:gd name="T72" fmla="*/ 1456 w 1684"/>
                <a:gd name="T73" fmla="*/ 1216 h 1684"/>
                <a:gd name="T74" fmla="*/ 1466 w 1684"/>
                <a:gd name="T75" fmla="*/ 1409 h 1684"/>
                <a:gd name="T76" fmla="*/ 1407 w 1684"/>
                <a:gd name="T77" fmla="*/ 1471 h 1684"/>
                <a:gd name="T78" fmla="*/ 1326 w 1684"/>
                <a:gd name="T79" fmla="*/ 1460 h 1684"/>
                <a:gd name="T80" fmla="*/ 1407 w 1684"/>
                <a:gd name="T81" fmla="*/ 1471 h 1684"/>
                <a:gd name="T82" fmla="*/ 1360 w 1684"/>
                <a:gd name="T83" fmla="*/ 1215 h 1684"/>
                <a:gd name="T84" fmla="*/ 1360 w 1684"/>
                <a:gd name="T85" fmla="*/ 1252 h 1684"/>
                <a:gd name="T86" fmla="*/ 1276 w 1684"/>
                <a:gd name="T87" fmla="*/ 1316 h 1684"/>
                <a:gd name="T88" fmla="*/ 1314 w 1684"/>
                <a:gd name="T89" fmla="*/ 1258 h 1684"/>
                <a:gd name="T90" fmla="*/ 1338 w 1684"/>
                <a:gd name="T91" fmla="*/ 1315 h 1684"/>
                <a:gd name="T92" fmla="*/ 1296 w 1684"/>
                <a:gd name="T93" fmla="*/ 1336 h 1684"/>
                <a:gd name="T94" fmla="*/ 1443 w 1684"/>
                <a:gd name="T95" fmla="*/ 1435 h 1684"/>
                <a:gd name="T96" fmla="*/ 1411 w 1684"/>
                <a:gd name="T97" fmla="*/ 1450 h 1684"/>
                <a:gd name="T98" fmla="*/ 1286 w 1684"/>
                <a:gd name="T99" fmla="*/ 1445 h 1684"/>
                <a:gd name="T100" fmla="*/ 1288 w 1684"/>
                <a:gd name="T101" fmla="*/ 1430 h 1684"/>
                <a:gd name="T102" fmla="*/ 1432 w 1684"/>
                <a:gd name="T103" fmla="*/ 1430 h 1684"/>
                <a:gd name="T104" fmla="*/ 1443 w 1684"/>
                <a:gd name="T105" fmla="*/ 1298 h 1684"/>
                <a:gd name="T106" fmla="*/ 1426 w 1684"/>
                <a:gd name="T107" fmla="*/ 1336 h 1684"/>
                <a:gd name="T108" fmla="*/ 1382 w 1684"/>
                <a:gd name="T109" fmla="*/ 1318 h 1684"/>
                <a:gd name="T110" fmla="*/ 1401 w 1684"/>
                <a:gd name="T111" fmla="*/ 1258 h 1684"/>
                <a:gd name="T112" fmla="*/ 1443 w 1684"/>
                <a:gd name="T113" fmla="*/ 1278 h 1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84" h="1684">
                  <a:moveTo>
                    <a:pt x="756" y="725"/>
                  </a:moveTo>
                  <a:cubicBezTo>
                    <a:pt x="548" y="517"/>
                    <a:pt x="548" y="517"/>
                    <a:pt x="548" y="517"/>
                  </a:cubicBezTo>
                  <a:cubicBezTo>
                    <a:pt x="648" y="401"/>
                    <a:pt x="643" y="225"/>
                    <a:pt x="533" y="115"/>
                  </a:cubicBezTo>
                  <a:cubicBezTo>
                    <a:pt x="418" y="0"/>
                    <a:pt x="231" y="0"/>
                    <a:pt x="115" y="115"/>
                  </a:cubicBezTo>
                  <a:cubicBezTo>
                    <a:pt x="0" y="231"/>
                    <a:pt x="0" y="418"/>
                    <a:pt x="115" y="533"/>
                  </a:cubicBezTo>
                  <a:cubicBezTo>
                    <a:pt x="225" y="643"/>
                    <a:pt x="401" y="648"/>
                    <a:pt x="517" y="548"/>
                  </a:cubicBezTo>
                  <a:cubicBezTo>
                    <a:pt x="710" y="741"/>
                    <a:pt x="710" y="741"/>
                    <a:pt x="710" y="741"/>
                  </a:cubicBezTo>
                  <a:cubicBezTo>
                    <a:pt x="688" y="770"/>
                    <a:pt x="676" y="805"/>
                    <a:pt x="676" y="842"/>
                  </a:cubicBezTo>
                  <a:cubicBezTo>
                    <a:pt x="676" y="854"/>
                    <a:pt x="686" y="864"/>
                    <a:pt x="698" y="864"/>
                  </a:cubicBezTo>
                  <a:cubicBezTo>
                    <a:pt x="710" y="864"/>
                    <a:pt x="720" y="854"/>
                    <a:pt x="720" y="842"/>
                  </a:cubicBezTo>
                  <a:cubicBezTo>
                    <a:pt x="720" y="809"/>
                    <a:pt x="733" y="779"/>
                    <a:pt x="756" y="756"/>
                  </a:cubicBezTo>
                  <a:cubicBezTo>
                    <a:pt x="764" y="747"/>
                    <a:pt x="764" y="733"/>
                    <a:pt x="756" y="725"/>
                  </a:cubicBezTo>
                  <a:close/>
                  <a:moveTo>
                    <a:pt x="510" y="300"/>
                  </a:moveTo>
                  <a:cubicBezTo>
                    <a:pt x="501" y="308"/>
                    <a:pt x="490" y="313"/>
                    <a:pt x="479" y="319"/>
                  </a:cubicBezTo>
                  <a:cubicBezTo>
                    <a:pt x="436" y="341"/>
                    <a:pt x="393" y="363"/>
                    <a:pt x="350" y="386"/>
                  </a:cubicBezTo>
                  <a:cubicBezTo>
                    <a:pt x="318" y="403"/>
                    <a:pt x="285" y="420"/>
                    <a:pt x="253" y="437"/>
                  </a:cubicBezTo>
                  <a:cubicBezTo>
                    <a:pt x="240" y="444"/>
                    <a:pt x="229" y="443"/>
                    <a:pt x="216" y="435"/>
                  </a:cubicBezTo>
                  <a:cubicBezTo>
                    <a:pt x="195" y="420"/>
                    <a:pt x="173" y="405"/>
                    <a:pt x="151" y="390"/>
                  </a:cubicBezTo>
                  <a:cubicBezTo>
                    <a:pt x="143" y="384"/>
                    <a:pt x="135" y="378"/>
                    <a:pt x="126" y="371"/>
                  </a:cubicBezTo>
                  <a:cubicBezTo>
                    <a:pt x="136" y="366"/>
                    <a:pt x="145" y="360"/>
                    <a:pt x="155" y="355"/>
                  </a:cubicBezTo>
                  <a:cubicBezTo>
                    <a:pt x="156" y="355"/>
                    <a:pt x="158" y="355"/>
                    <a:pt x="159" y="355"/>
                  </a:cubicBezTo>
                  <a:cubicBezTo>
                    <a:pt x="178" y="361"/>
                    <a:pt x="197" y="367"/>
                    <a:pt x="216" y="373"/>
                  </a:cubicBezTo>
                  <a:cubicBezTo>
                    <a:pt x="218" y="373"/>
                    <a:pt x="220" y="373"/>
                    <a:pt x="222" y="372"/>
                  </a:cubicBezTo>
                  <a:cubicBezTo>
                    <a:pt x="246" y="360"/>
                    <a:pt x="269" y="348"/>
                    <a:pt x="293" y="336"/>
                  </a:cubicBezTo>
                  <a:cubicBezTo>
                    <a:pt x="293" y="336"/>
                    <a:pt x="294" y="335"/>
                    <a:pt x="294" y="335"/>
                  </a:cubicBezTo>
                  <a:cubicBezTo>
                    <a:pt x="249" y="309"/>
                    <a:pt x="203" y="283"/>
                    <a:pt x="157" y="257"/>
                  </a:cubicBezTo>
                  <a:cubicBezTo>
                    <a:pt x="169" y="251"/>
                    <a:pt x="181" y="245"/>
                    <a:pt x="193" y="238"/>
                  </a:cubicBezTo>
                  <a:cubicBezTo>
                    <a:pt x="194" y="238"/>
                    <a:pt x="196" y="239"/>
                    <a:pt x="198" y="239"/>
                  </a:cubicBezTo>
                  <a:cubicBezTo>
                    <a:pt x="254" y="257"/>
                    <a:pt x="311" y="274"/>
                    <a:pt x="368" y="292"/>
                  </a:cubicBezTo>
                  <a:cubicBezTo>
                    <a:pt x="372" y="294"/>
                    <a:pt x="375" y="293"/>
                    <a:pt x="379" y="291"/>
                  </a:cubicBezTo>
                  <a:cubicBezTo>
                    <a:pt x="409" y="276"/>
                    <a:pt x="438" y="260"/>
                    <a:pt x="468" y="244"/>
                  </a:cubicBezTo>
                  <a:cubicBezTo>
                    <a:pt x="482" y="237"/>
                    <a:pt x="496" y="236"/>
                    <a:pt x="510" y="246"/>
                  </a:cubicBezTo>
                  <a:cubicBezTo>
                    <a:pt x="527" y="259"/>
                    <a:pt x="527" y="284"/>
                    <a:pt x="510" y="300"/>
                  </a:cubicBezTo>
                  <a:close/>
                  <a:moveTo>
                    <a:pt x="1418" y="1489"/>
                  </a:moveTo>
                  <a:cubicBezTo>
                    <a:pt x="1379" y="1489"/>
                    <a:pt x="1340" y="1489"/>
                    <a:pt x="1299" y="1489"/>
                  </a:cubicBezTo>
                  <a:cubicBezTo>
                    <a:pt x="1302" y="1481"/>
                    <a:pt x="1306" y="1478"/>
                    <a:pt x="1313" y="1479"/>
                  </a:cubicBezTo>
                  <a:cubicBezTo>
                    <a:pt x="1344" y="1479"/>
                    <a:pt x="1374" y="1479"/>
                    <a:pt x="1404" y="1478"/>
                  </a:cubicBezTo>
                  <a:cubicBezTo>
                    <a:pt x="1412" y="1478"/>
                    <a:pt x="1416" y="1481"/>
                    <a:pt x="1418" y="1489"/>
                  </a:cubicBezTo>
                  <a:close/>
                  <a:moveTo>
                    <a:pt x="1569" y="1151"/>
                  </a:moveTo>
                  <a:cubicBezTo>
                    <a:pt x="1459" y="1041"/>
                    <a:pt x="1283" y="1036"/>
                    <a:pt x="1167" y="1136"/>
                  </a:cubicBezTo>
                  <a:cubicBezTo>
                    <a:pt x="974" y="943"/>
                    <a:pt x="974" y="943"/>
                    <a:pt x="974" y="943"/>
                  </a:cubicBezTo>
                  <a:cubicBezTo>
                    <a:pt x="996" y="914"/>
                    <a:pt x="1008" y="879"/>
                    <a:pt x="1008" y="842"/>
                  </a:cubicBezTo>
                  <a:cubicBezTo>
                    <a:pt x="1008" y="830"/>
                    <a:pt x="998" y="820"/>
                    <a:pt x="986" y="820"/>
                  </a:cubicBezTo>
                  <a:cubicBezTo>
                    <a:pt x="974" y="820"/>
                    <a:pt x="964" y="830"/>
                    <a:pt x="964" y="842"/>
                  </a:cubicBezTo>
                  <a:cubicBezTo>
                    <a:pt x="964" y="875"/>
                    <a:pt x="951" y="905"/>
                    <a:pt x="928" y="928"/>
                  </a:cubicBezTo>
                  <a:cubicBezTo>
                    <a:pt x="920" y="937"/>
                    <a:pt x="920" y="951"/>
                    <a:pt x="928" y="959"/>
                  </a:cubicBezTo>
                  <a:cubicBezTo>
                    <a:pt x="1136" y="1167"/>
                    <a:pt x="1136" y="1167"/>
                    <a:pt x="1136" y="1167"/>
                  </a:cubicBezTo>
                  <a:cubicBezTo>
                    <a:pt x="1036" y="1283"/>
                    <a:pt x="1041" y="1459"/>
                    <a:pt x="1151" y="1569"/>
                  </a:cubicBezTo>
                  <a:cubicBezTo>
                    <a:pt x="1266" y="1684"/>
                    <a:pt x="1453" y="1684"/>
                    <a:pt x="1569" y="1569"/>
                  </a:cubicBezTo>
                  <a:cubicBezTo>
                    <a:pt x="1684" y="1453"/>
                    <a:pt x="1684" y="1266"/>
                    <a:pt x="1569" y="1151"/>
                  </a:cubicBezTo>
                  <a:close/>
                  <a:moveTo>
                    <a:pt x="1456" y="1429"/>
                  </a:moveTo>
                  <a:cubicBezTo>
                    <a:pt x="1453" y="1430"/>
                    <a:pt x="1451" y="1434"/>
                    <a:pt x="1451" y="1436"/>
                  </a:cubicBezTo>
                  <a:cubicBezTo>
                    <a:pt x="1451" y="1448"/>
                    <a:pt x="1445" y="1452"/>
                    <a:pt x="1435" y="1455"/>
                  </a:cubicBezTo>
                  <a:cubicBezTo>
                    <a:pt x="1430" y="1457"/>
                    <a:pt x="1425" y="1459"/>
                    <a:pt x="1418" y="1461"/>
                  </a:cubicBezTo>
                  <a:cubicBezTo>
                    <a:pt x="1431" y="1481"/>
                    <a:pt x="1443" y="1500"/>
                    <a:pt x="1456" y="1519"/>
                  </a:cubicBezTo>
                  <a:cubicBezTo>
                    <a:pt x="1459" y="1524"/>
                    <a:pt x="1462" y="1528"/>
                    <a:pt x="1456" y="1530"/>
                  </a:cubicBezTo>
                  <a:cubicBezTo>
                    <a:pt x="1451" y="1532"/>
                    <a:pt x="1447" y="1530"/>
                    <a:pt x="1445" y="1527"/>
                  </a:cubicBezTo>
                  <a:cubicBezTo>
                    <a:pt x="1437" y="1515"/>
                    <a:pt x="1427" y="1503"/>
                    <a:pt x="1425" y="1501"/>
                  </a:cubicBezTo>
                  <a:cubicBezTo>
                    <a:pt x="1421" y="1498"/>
                    <a:pt x="1404" y="1499"/>
                    <a:pt x="1391" y="1499"/>
                  </a:cubicBezTo>
                  <a:cubicBezTo>
                    <a:pt x="1362" y="1499"/>
                    <a:pt x="1331" y="1499"/>
                    <a:pt x="1300" y="1500"/>
                  </a:cubicBezTo>
                  <a:cubicBezTo>
                    <a:pt x="1296" y="1500"/>
                    <a:pt x="1290" y="1504"/>
                    <a:pt x="1287" y="1507"/>
                  </a:cubicBezTo>
                  <a:cubicBezTo>
                    <a:pt x="1281" y="1514"/>
                    <a:pt x="1278" y="1522"/>
                    <a:pt x="1272" y="1529"/>
                  </a:cubicBezTo>
                  <a:cubicBezTo>
                    <a:pt x="1269" y="1531"/>
                    <a:pt x="1264" y="1530"/>
                    <a:pt x="1263" y="1529"/>
                  </a:cubicBezTo>
                  <a:cubicBezTo>
                    <a:pt x="1261" y="1528"/>
                    <a:pt x="1259" y="1524"/>
                    <a:pt x="1261" y="1521"/>
                  </a:cubicBezTo>
                  <a:cubicBezTo>
                    <a:pt x="1300" y="1461"/>
                    <a:pt x="1300" y="1461"/>
                    <a:pt x="1300" y="1461"/>
                  </a:cubicBezTo>
                  <a:cubicBezTo>
                    <a:pt x="1293" y="1459"/>
                    <a:pt x="1288" y="1456"/>
                    <a:pt x="1282" y="1454"/>
                  </a:cubicBezTo>
                  <a:cubicBezTo>
                    <a:pt x="1274" y="1451"/>
                    <a:pt x="1268" y="1447"/>
                    <a:pt x="1269" y="1438"/>
                  </a:cubicBezTo>
                  <a:cubicBezTo>
                    <a:pt x="1269" y="1434"/>
                    <a:pt x="1266" y="1430"/>
                    <a:pt x="1264" y="1429"/>
                  </a:cubicBezTo>
                  <a:cubicBezTo>
                    <a:pt x="1257" y="1426"/>
                    <a:pt x="1255" y="1421"/>
                    <a:pt x="1255" y="1414"/>
                  </a:cubicBezTo>
                  <a:cubicBezTo>
                    <a:pt x="1255" y="1353"/>
                    <a:pt x="1255" y="1293"/>
                    <a:pt x="1254" y="1233"/>
                  </a:cubicBezTo>
                  <a:cubicBezTo>
                    <a:pt x="1254" y="1222"/>
                    <a:pt x="1260" y="1215"/>
                    <a:pt x="1269" y="1212"/>
                  </a:cubicBezTo>
                  <a:cubicBezTo>
                    <a:pt x="1284" y="1204"/>
                    <a:pt x="1300" y="1197"/>
                    <a:pt x="1317" y="1194"/>
                  </a:cubicBezTo>
                  <a:cubicBezTo>
                    <a:pt x="1356" y="1186"/>
                    <a:pt x="1396" y="1187"/>
                    <a:pt x="1434" y="1202"/>
                  </a:cubicBezTo>
                  <a:cubicBezTo>
                    <a:pt x="1442" y="1206"/>
                    <a:pt x="1451" y="1210"/>
                    <a:pt x="1456" y="1216"/>
                  </a:cubicBezTo>
                  <a:cubicBezTo>
                    <a:pt x="1461" y="1221"/>
                    <a:pt x="1465" y="1229"/>
                    <a:pt x="1465" y="1236"/>
                  </a:cubicBezTo>
                  <a:cubicBezTo>
                    <a:pt x="1466" y="1294"/>
                    <a:pt x="1466" y="1352"/>
                    <a:pt x="1466" y="1409"/>
                  </a:cubicBezTo>
                  <a:cubicBezTo>
                    <a:pt x="1466" y="1418"/>
                    <a:pt x="1465" y="1426"/>
                    <a:pt x="1456" y="1429"/>
                  </a:cubicBezTo>
                  <a:close/>
                  <a:moveTo>
                    <a:pt x="1407" y="1471"/>
                  </a:moveTo>
                  <a:cubicBezTo>
                    <a:pt x="1374" y="1471"/>
                    <a:pt x="1344" y="1471"/>
                    <a:pt x="1312" y="1471"/>
                  </a:cubicBezTo>
                  <a:cubicBezTo>
                    <a:pt x="1313" y="1463"/>
                    <a:pt x="1318" y="1460"/>
                    <a:pt x="1326" y="1460"/>
                  </a:cubicBezTo>
                  <a:cubicBezTo>
                    <a:pt x="1348" y="1460"/>
                    <a:pt x="1370" y="1460"/>
                    <a:pt x="1392" y="1460"/>
                  </a:cubicBezTo>
                  <a:cubicBezTo>
                    <a:pt x="1400" y="1460"/>
                    <a:pt x="1404" y="1463"/>
                    <a:pt x="1407" y="1471"/>
                  </a:cubicBezTo>
                  <a:close/>
                  <a:moveTo>
                    <a:pt x="1342" y="1234"/>
                  </a:moveTo>
                  <a:cubicBezTo>
                    <a:pt x="1342" y="1223"/>
                    <a:pt x="1350" y="1215"/>
                    <a:pt x="1360" y="1215"/>
                  </a:cubicBezTo>
                  <a:cubicBezTo>
                    <a:pt x="1370" y="1215"/>
                    <a:pt x="1379" y="1223"/>
                    <a:pt x="1379" y="1234"/>
                  </a:cubicBezTo>
                  <a:cubicBezTo>
                    <a:pt x="1379" y="1244"/>
                    <a:pt x="1370" y="1252"/>
                    <a:pt x="1360" y="1252"/>
                  </a:cubicBezTo>
                  <a:cubicBezTo>
                    <a:pt x="1350" y="1252"/>
                    <a:pt x="1342" y="1244"/>
                    <a:pt x="1342" y="1234"/>
                  </a:cubicBezTo>
                  <a:close/>
                  <a:moveTo>
                    <a:pt x="1276" y="1316"/>
                  </a:moveTo>
                  <a:cubicBezTo>
                    <a:pt x="1275" y="1310"/>
                    <a:pt x="1275" y="1303"/>
                    <a:pt x="1275" y="1297"/>
                  </a:cubicBezTo>
                  <a:cubicBezTo>
                    <a:pt x="1275" y="1260"/>
                    <a:pt x="1278" y="1258"/>
                    <a:pt x="1314" y="1258"/>
                  </a:cubicBezTo>
                  <a:cubicBezTo>
                    <a:pt x="1331" y="1258"/>
                    <a:pt x="1338" y="1265"/>
                    <a:pt x="1338" y="1283"/>
                  </a:cubicBezTo>
                  <a:cubicBezTo>
                    <a:pt x="1338" y="1293"/>
                    <a:pt x="1338" y="1304"/>
                    <a:pt x="1338" y="1315"/>
                  </a:cubicBezTo>
                  <a:cubicBezTo>
                    <a:pt x="1337" y="1329"/>
                    <a:pt x="1331" y="1336"/>
                    <a:pt x="1317" y="1336"/>
                  </a:cubicBezTo>
                  <a:cubicBezTo>
                    <a:pt x="1310" y="1336"/>
                    <a:pt x="1302" y="1336"/>
                    <a:pt x="1296" y="1336"/>
                  </a:cubicBezTo>
                  <a:cubicBezTo>
                    <a:pt x="1283" y="1336"/>
                    <a:pt x="1276" y="1328"/>
                    <a:pt x="1276" y="1316"/>
                  </a:cubicBezTo>
                  <a:close/>
                  <a:moveTo>
                    <a:pt x="1443" y="1435"/>
                  </a:moveTo>
                  <a:cubicBezTo>
                    <a:pt x="1444" y="1439"/>
                    <a:pt x="1439" y="1443"/>
                    <a:pt x="1436" y="1445"/>
                  </a:cubicBezTo>
                  <a:cubicBezTo>
                    <a:pt x="1427" y="1448"/>
                    <a:pt x="1419" y="1450"/>
                    <a:pt x="1411" y="1450"/>
                  </a:cubicBezTo>
                  <a:cubicBezTo>
                    <a:pt x="1377" y="1451"/>
                    <a:pt x="1344" y="1451"/>
                    <a:pt x="1310" y="1450"/>
                  </a:cubicBezTo>
                  <a:cubicBezTo>
                    <a:pt x="1302" y="1450"/>
                    <a:pt x="1293" y="1448"/>
                    <a:pt x="1286" y="1445"/>
                  </a:cubicBezTo>
                  <a:cubicBezTo>
                    <a:pt x="1283" y="1444"/>
                    <a:pt x="1277" y="1439"/>
                    <a:pt x="1278" y="1435"/>
                  </a:cubicBezTo>
                  <a:cubicBezTo>
                    <a:pt x="1279" y="1432"/>
                    <a:pt x="1284" y="1430"/>
                    <a:pt x="1288" y="1430"/>
                  </a:cubicBezTo>
                  <a:cubicBezTo>
                    <a:pt x="1312" y="1430"/>
                    <a:pt x="1336" y="1430"/>
                    <a:pt x="1360" y="1430"/>
                  </a:cubicBezTo>
                  <a:cubicBezTo>
                    <a:pt x="1384" y="1430"/>
                    <a:pt x="1408" y="1430"/>
                    <a:pt x="1432" y="1430"/>
                  </a:cubicBezTo>
                  <a:cubicBezTo>
                    <a:pt x="1436" y="1430"/>
                    <a:pt x="1442" y="1431"/>
                    <a:pt x="1443" y="1435"/>
                  </a:cubicBezTo>
                  <a:close/>
                  <a:moveTo>
                    <a:pt x="1443" y="1298"/>
                  </a:moveTo>
                  <a:cubicBezTo>
                    <a:pt x="1443" y="1305"/>
                    <a:pt x="1444" y="1312"/>
                    <a:pt x="1443" y="1318"/>
                  </a:cubicBezTo>
                  <a:cubicBezTo>
                    <a:pt x="1443" y="1328"/>
                    <a:pt x="1436" y="1335"/>
                    <a:pt x="1426" y="1336"/>
                  </a:cubicBezTo>
                  <a:cubicBezTo>
                    <a:pt x="1418" y="1336"/>
                    <a:pt x="1408" y="1336"/>
                    <a:pt x="1400" y="1336"/>
                  </a:cubicBezTo>
                  <a:cubicBezTo>
                    <a:pt x="1389" y="1335"/>
                    <a:pt x="1383" y="1328"/>
                    <a:pt x="1382" y="1318"/>
                  </a:cubicBezTo>
                  <a:cubicBezTo>
                    <a:pt x="1382" y="1304"/>
                    <a:pt x="1382" y="1291"/>
                    <a:pt x="1382" y="1278"/>
                  </a:cubicBezTo>
                  <a:cubicBezTo>
                    <a:pt x="1383" y="1266"/>
                    <a:pt x="1389" y="1259"/>
                    <a:pt x="1401" y="1258"/>
                  </a:cubicBezTo>
                  <a:cubicBezTo>
                    <a:pt x="1408" y="1258"/>
                    <a:pt x="1417" y="1258"/>
                    <a:pt x="1425" y="1258"/>
                  </a:cubicBezTo>
                  <a:cubicBezTo>
                    <a:pt x="1437" y="1259"/>
                    <a:pt x="1443" y="1266"/>
                    <a:pt x="1443" y="1278"/>
                  </a:cubicBezTo>
                  <a:cubicBezTo>
                    <a:pt x="1444" y="1285"/>
                    <a:pt x="1443" y="1292"/>
                    <a:pt x="1443" y="129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Light" panose="00000400000000000000" pitchFamily="2" charset="-52"/>
              </a:endParaRPr>
            </a:p>
          </p:txBody>
        </p:sp>
      </p:grpSp>
      <p:grpSp>
        <p:nvGrpSpPr>
          <p:cNvPr id="73" name="Group 264">
            <a:extLst>
              <a:ext uri="{FF2B5EF4-FFF2-40B4-BE49-F238E27FC236}">
                <a16:creationId xmlns:a16="http://schemas.microsoft.com/office/drawing/2014/main" id="{B1F2BA5F-6A7A-4855-AE41-D40791542469}"/>
              </a:ext>
            </a:extLst>
          </p:cNvPr>
          <p:cNvGrpSpPr>
            <a:grpSpLocks noChangeAspect="1"/>
          </p:cNvGrpSpPr>
          <p:nvPr/>
        </p:nvGrpSpPr>
        <p:grpSpPr>
          <a:xfrm>
            <a:off x="439990" y="2044526"/>
            <a:ext cx="807236" cy="807980"/>
            <a:chOff x="5273801" y="2606040"/>
            <a:chExt cx="1644396" cy="1645920"/>
          </a:xfrm>
        </p:grpSpPr>
        <p:sp>
          <p:nvSpPr>
            <p:cNvPr id="74" name="AutoShape 8">
              <a:extLst>
                <a:ext uri="{FF2B5EF4-FFF2-40B4-BE49-F238E27FC236}">
                  <a16:creationId xmlns:a16="http://schemas.microsoft.com/office/drawing/2014/main" id="{85EBBBB4-F9F4-4C75-B354-ED8A7FEB149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002" tIns="38999" rIns="78002" bIns="38999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529F"/>
                </a:solidFill>
              </a:endParaRPr>
            </a:p>
          </p:txBody>
        </p:sp>
        <p:grpSp>
          <p:nvGrpSpPr>
            <p:cNvPr id="75" name="Group 267">
              <a:extLst>
                <a:ext uri="{FF2B5EF4-FFF2-40B4-BE49-F238E27FC236}">
                  <a16:creationId xmlns:a16="http://schemas.microsoft.com/office/drawing/2014/main" id="{ED55A6E3-940E-4D23-AFC6-9999F00BDCC6}"/>
                </a:ext>
              </a:extLst>
            </p:cNvPr>
            <p:cNvGrpSpPr/>
            <p:nvPr/>
          </p:nvGrpSpPr>
          <p:grpSpPr>
            <a:xfrm>
              <a:off x="5428106" y="2879598"/>
              <a:ext cx="1335786" cy="1128903"/>
              <a:chOff x="5428106" y="2879598"/>
              <a:chExt cx="1335786" cy="1128903"/>
            </a:xfrm>
          </p:grpSpPr>
          <p:sp>
            <p:nvSpPr>
              <p:cNvPr id="76" name="Freeform 10">
                <a:extLst>
                  <a:ext uri="{FF2B5EF4-FFF2-40B4-BE49-F238E27FC236}">
                    <a16:creationId xmlns:a16="http://schemas.microsoft.com/office/drawing/2014/main" id="{61CDE72D-1B6B-41ED-A40A-5DC03D79D0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8106" y="3341751"/>
                <a:ext cx="1335786" cy="666750"/>
              </a:xfrm>
              <a:custGeom>
                <a:avLst/>
                <a:gdLst>
                  <a:gd name="T0" fmla="*/ 1850 w 1872"/>
                  <a:gd name="T1" fmla="*/ 44 h 933"/>
                  <a:gd name="T2" fmla="*/ 22 w 1872"/>
                  <a:gd name="T3" fmla="*/ 44 h 933"/>
                  <a:gd name="T4" fmla="*/ 0 w 1872"/>
                  <a:gd name="T5" fmla="*/ 22 h 933"/>
                  <a:gd name="T6" fmla="*/ 22 w 1872"/>
                  <a:gd name="T7" fmla="*/ 0 h 933"/>
                  <a:gd name="T8" fmla="*/ 1850 w 1872"/>
                  <a:gd name="T9" fmla="*/ 0 h 933"/>
                  <a:gd name="T10" fmla="*/ 1872 w 1872"/>
                  <a:gd name="T11" fmla="*/ 22 h 933"/>
                  <a:gd name="T12" fmla="*/ 1850 w 1872"/>
                  <a:gd name="T13" fmla="*/ 44 h 933"/>
                  <a:gd name="T14" fmla="*/ 1872 w 1872"/>
                  <a:gd name="T15" fmla="*/ 911 h 933"/>
                  <a:gd name="T16" fmla="*/ 1850 w 1872"/>
                  <a:gd name="T17" fmla="*/ 889 h 933"/>
                  <a:gd name="T18" fmla="*/ 22 w 1872"/>
                  <a:gd name="T19" fmla="*/ 889 h 933"/>
                  <a:gd name="T20" fmla="*/ 0 w 1872"/>
                  <a:gd name="T21" fmla="*/ 911 h 933"/>
                  <a:gd name="T22" fmla="*/ 22 w 1872"/>
                  <a:gd name="T23" fmla="*/ 933 h 933"/>
                  <a:gd name="T24" fmla="*/ 1850 w 1872"/>
                  <a:gd name="T25" fmla="*/ 933 h 933"/>
                  <a:gd name="T26" fmla="*/ 1872 w 1872"/>
                  <a:gd name="T27" fmla="*/ 911 h 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72" h="933">
                    <a:moveTo>
                      <a:pt x="1850" y="44"/>
                    </a:moveTo>
                    <a:cubicBezTo>
                      <a:pt x="22" y="44"/>
                      <a:pt x="22" y="44"/>
                      <a:pt x="22" y="44"/>
                    </a:cubicBezTo>
                    <a:cubicBezTo>
                      <a:pt x="10" y="44"/>
                      <a:pt x="0" y="34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1850" y="0"/>
                      <a:pt x="1850" y="0"/>
                      <a:pt x="1850" y="0"/>
                    </a:cubicBezTo>
                    <a:cubicBezTo>
                      <a:pt x="1862" y="0"/>
                      <a:pt x="1872" y="10"/>
                      <a:pt x="1872" y="22"/>
                    </a:cubicBezTo>
                    <a:cubicBezTo>
                      <a:pt x="1872" y="34"/>
                      <a:pt x="1862" y="44"/>
                      <a:pt x="1850" y="44"/>
                    </a:cubicBezTo>
                    <a:close/>
                    <a:moveTo>
                      <a:pt x="1872" y="911"/>
                    </a:moveTo>
                    <a:cubicBezTo>
                      <a:pt x="1872" y="899"/>
                      <a:pt x="1862" y="889"/>
                      <a:pt x="1850" y="889"/>
                    </a:cubicBezTo>
                    <a:cubicBezTo>
                      <a:pt x="22" y="889"/>
                      <a:pt x="22" y="889"/>
                      <a:pt x="22" y="889"/>
                    </a:cubicBezTo>
                    <a:cubicBezTo>
                      <a:pt x="10" y="889"/>
                      <a:pt x="0" y="899"/>
                      <a:pt x="0" y="911"/>
                    </a:cubicBezTo>
                    <a:cubicBezTo>
                      <a:pt x="0" y="923"/>
                      <a:pt x="10" y="933"/>
                      <a:pt x="22" y="933"/>
                    </a:cubicBezTo>
                    <a:cubicBezTo>
                      <a:pt x="1850" y="933"/>
                      <a:pt x="1850" y="933"/>
                      <a:pt x="1850" y="933"/>
                    </a:cubicBezTo>
                    <a:cubicBezTo>
                      <a:pt x="1862" y="933"/>
                      <a:pt x="1872" y="923"/>
                      <a:pt x="1872" y="91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002" tIns="38999" rIns="78002" bIns="389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latin typeface="Montserrat Light" panose="00000400000000000000" pitchFamily="2" charset="-52"/>
                </a:endParaRPr>
              </a:p>
            </p:txBody>
          </p:sp>
          <p:sp>
            <p:nvSpPr>
              <p:cNvPr id="77" name="Freeform 11">
                <a:extLst>
                  <a:ext uri="{FF2B5EF4-FFF2-40B4-BE49-F238E27FC236}">
                    <a16:creationId xmlns:a16="http://schemas.microsoft.com/office/drawing/2014/main" id="{1A0316C0-7D88-40E9-B6A1-2096FD0DC8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59348" y="2879598"/>
                <a:ext cx="1273302" cy="1063752"/>
              </a:xfrm>
              <a:custGeom>
                <a:avLst/>
                <a:gdLst>
                  <a:gd name="T0" fmla="*/ 816 w 1784"/>
                  <a:gd name="T1" fmla="*/ 901 h 1489"/>
                  <a:gd name="T2" fmla="*/ 1091 w 1784"/>
                  <a:gd name="T3" fmla="*/ 599 h 1489"/>
                  <a:gd name="T4" fmla="*/ 1091 w 1784"/>
                  <a:gd name="T5" fmla="*/ 392 h 1489"/>
                  <a:gd name="T6" fmla="*/ 1271 w 1784"/>
                  <a:gd name="T7" fmla="*/ 348 h 1489"/>
                  <a:gd name="T8" fmla="*/ 1081 w 1784"/>
                  <a:gd name="T9" fmla="*/ 151 h 1489"/>
                  <a:gd name="T10" fmla="*/ 517 w 1784"/>
                  <a:gd name="T11" fmla="*/ 1489 h 1489"/>
                  <a:gd name="T12" fmla="*/ 517 w 1784"/>
                  <a:gd name="T13" fmla="*/ 1008 h 1489"/>
                  <a:gd name="T14" fmla="*/ 427 w 1784"/>
                  <a:gd name="T15" fmla="*/ 1293 h 1489"/>
                  <a:gd name="T16" fmla="*/ 419 w 1784"/>
                  <a:gd name="T17" fmla="*/ 1290 h 1489"/>
                  <a:gd name="T18" fmla="*/ 406 w 1784"/>
                  <a:gd name="T19" fmla="*/ 1291 h 1489"/>
                  <a:gd name="T20" fmla="*/ 345 w 1784"/>
                  <a:gd name="T21" fmla="*/ 1350 h 1489"/>
                  <a:gd name="T22" fmla="*/ 415 w 1784"/>
                  <a:gd name="T23" fmla="*/ 1453 h 1489"/>
                  <a:gd name="T24" fmla="*/ 484 w 1784"/>
                  <a:gd name="T25" fmla="*/ 1381 h 1489"/>
                  <a:gd name="T26" fmla="*/ 581 w 1784"/>
                  <a:gd name="T27" fmla="*/ 1489 h 1489"/>
                  <a:gd name="T28" fmla="*/ 1132 w 1784"/>
                  <a:gd name="T29" fmla="*/ 1135 h 1489"/>
                  <a:gd name="T30" fmla="*/ 1032 w 1784"/>
                  <a:gd name="T31" fmla="*/ 1293 h 1489"/>
                  <a:gd name="T32" fmla="*/ 1020 w 1784"/>
                  <a:gd name="T33" fmla="*/ 1290 h 1489"/>
                  <a:gd name="T34" fmla="*/ 1008 w 1784"/>
                  <a:gd name="T35" fmla="*/ 1293 h 1489"/>
                  <a:gd name="T36" fmla="*/ 951 w 1784"/>
                  <a:gd name="T37" fmla="*/ 1381 h 1489"/>
                  <a:gd name="T38" fmla="*/ 1042 w 1784"/>
                  <a:gd name="T39" fmla="*/ 1431 h 1489"/>
                  <a:gd name="T40" fmla="*/ 1090 w 1784"/>
                  <a:gd name="T41" fmla="*/ 1350 h 1489"/>
                  <a:gd name="T42" fmla="*/ 467 w 1784"/>
                  <a:gd name="T43" fmla="*/ 589 h 1489"/>
                  <a:gd name="T44" fmla="*/ 994 w 1784"/>
                  <a:gd name="T45" fmla="*/ 459 h 1489"/>
                  <a:gd name="T46" fmla="*/ 933 w 1784"/>
                  <a:gd name="T47" fmla="*/ 401 h 1489"/>
                  <a:gd name="T48" fmla="*/ 921 w 1784"/>
                  <a:gd name="T49" fmla="*/ 399 h 1489"/>
                  <a:gd name="T50" fmla="*/ 913 w 1784"/>
                  <a:gd name="T51" fmla="*/ 403 h 1489"/>
                  <a:gd name="T52" fmla="*/ 886 w 1784"/>
                  <a:gd name="T53" fmla="*/ 490 h 1489"/>
                  <a:gd name="T54" fmla="*/ 947 w 1784"/>
                  <a:gd name="T55" fmla="*/ 474 h 1489"/>
                  <a:gd name="T56" fmla="*/ 1784 w 1784"/>
                  <a:gd name="T57" fmla="*/ 247 h 1489"/>
                  <a:gd name="T58" fmla="*/ 1325 w 1784"/>
                  <a:gd name="T59" fmla="*/ 247 h 1489"/>
                  <a:gd name="T60" fmla="*/ 1688 w 1784"/>
                  <a:gd name="T61" fmla="*/ 405 h 1489"/>
                  <a:gd name="T62" fmla="*/ 1680 w 1784"/>
                  <a:gd name="T63" fmla="*/ 400 h 1489"/>
                  <a:gd name="T64" fmla="*/ 1668 w 1784"/>
                  <a:gd name="T65" fmla="*/ 399 h 1489"/>
                  <a:gd name="T66" fmla="*/ 1656 w 1784"/>
                  <a:gd name="T67" fmla="*/ 405 h 1489"/>
                  <a:gd name="T68" fmla="*/ 1650 w 1784"/>
                  <a:gd name="T69" fmla="*/ 474 h 1489"/>
                  <a:gd name="T70" fmla="*/ 1710 w 1784"/>
                  <a:gd name="T71" fmla="*/ 490 h 1489"/>
                  <a:gd name="T72" fmla="*/ 423 w 1784"/>
                  <a:gd name="T73" fmla="*/ 589 h 1489"/>
                  <a:gd name="T74" fmla="*/ 10 w 1784"/>
                  <a:gd name="T75" fmla="*/ 237 h 1489"/>
                  <a:gd name="T76" fmla="*/ 327 w 1784"/>
                  <a:gd name="T77" fmla="*/ 405 h 1489"/>
                  <a:gd name="T78" fmla="*/ 316 w 1784"/>
                  <a:gd name="T79" fmla="*/ 399 h 1489"/>
                  <a:gd name="T80" fmla="*/ 303 w 1784"/>
                  <a:gd name="T81" fmla="*/ 400 h 1489"/>
                  <a:gd name="T82" fmla="*/ 296 w 1784"/>
                  <a:gd name="T83" fmla="*/ 405 h 1489"/>
                  <a:gd name="T84" fmla="*/ 289 w 1784"/>
                  <a:gd name="T85" fmla="*/ 541 h 1489"/>
                  <a:gd name="T86" fmla="*/ 365 w 1784"/>
                  <a:gd name="T87" fmla="*/ 497 h 1489"/>
                  <a:gd name="T88" fmla="*/ 1774 w 1784"/>
                  <a:gd name="T89" fmla="*/ 1489 h 1489"/>
                  <a:gd name="T90" fmla="*/ 1774 w 1784"/>
                  <a:gd name="T91" fmla="*/ 953 h 1489"/>
                  <a:gd name="T92" fmla="*/ 1684 w 1784"/>
                  <a:gd name="T93" fmla="*/ 1293 h 1489"/>
                  <a:gd name="T94" fmla="*/ 1676 w 1784"/>
                  <a:gd name="T95" fmla="*/ 1290 h 1489"/>
                  <a:gd name="T96" fmla="*/ 1664 w 1784"/>
                  <a:gd name="T97" fmla="*/ 1291 h 1489"/>
                  <a:gd name="T98" fmla="*/ 1603 w 1784"/>
                  <a:gd name="T99" fmla="*/ 1350 h 1489"/>
                  <a:gd name="T100" fmla="*/ 1672 w 1784"/>
                  <a:gd name="T101" fmla="*/ 1453 h 1489"/>
                  <a:gd name="T102" fmla="*/ 1741 w 1784"/>
                  <a:gd name="T103" fmla="*/ 1381 h 1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84" h="1489">
                    <a:moveTo>
                      <a:pt x="625" y="1071"/>
                    </a:moveTo>
                    <a:cubicBezTo>
                      <a:pt x="625" y="901"/>
                      <a:pt x="625" y="901"/>
                      <a:pt x="625" y="901"/>
                    </a:cubicBezTo>
                    <a:cubicBezTo>
                      <a:pt x="625" y="895"/>
                      <a:pt x="630" y="891"/>
                      <a:pt x="635" y="891"/>
                    </a:cubicBezTo>
                    <a:cubicBezTo>
                      <a:pt x="806" y="891"/>
                      <a:pt x="806" y="891"/>
                      <a:pt x="806" y="891"/>
                    </a:cubicBezTo>
                    <a:cubicBezTo>
                      <a:pt x="811" y="891"/>
                      <a:pt x="816" y="895"/>
                      <a:pt x="816" y="901"/>
                    </a:cubicBezTo>
                    <a:cubicBezTo>
                      <a:pt x="816" y="1071"/>
                      <a:pt x="816" y="1071"/>
                      <a:pt x="816" y="1071"/>
                    </a:cubicBezTo>
                    <a:cubicBezTo>
                      <a:pt x="816" y="1077"/>
                      <a:pt x="811" y="1081"/>
                      <a:pt x="806" y="1081"/>
                    </a:cubicBezTo>
                    <a:cubicBezTo>
                      <a:pt x="635" y="1081"/>
                      <a:pt x="635" y="1081"/>
                      <a:pt x="635" y="1081"/>
                    </a:cubicBezTo>
                    <a:cubicBezTo>
                      <a:pt x="630" y="1081"/>
                      <a:pt x="625" y="1077"/>
                      <a:pt x="625" y="1071"/>
                    </a:cubicBezTo>
                    <a:close/>
                    <a:moveTo>
                      <a:pt x="1091" y="599"/>
                    </a:moveTo>
                    <a:cubicBezTo>
                      <a:pt x="1271" y="599"/>
                      <a:pt x="1271" y="599"/>
                      <a:pt x="1271" y="599"/>
                    </a:cubicBezTo>
                    <a:cubicBezTo>
                      <a:pt x="1277" y="599"/>
                      <a:pt x="1281" y="594"/>
                      <a:pt x="1281" y="589"/>
                    </a:cubicBezTo>
                    <a:cubicBezTo>
                      <a:pt x="1281" y="402"/>
                      <a:pt x="1281" y="402"/>
                      <a:pt x="1281" y="402"/>
                    </a:cubicBezTo>
                    <a:cubicBezTo>
                      <a:pt x="1281" y="397"/>
                      <a:pt x="1277" y="392"/>
                      <a:pt x="1271" y="392"/>
                    </a:cubicBezTo>
                    <a:cubicBezTo>
                      <a:pt x="1091" y="392"/>
                      <a:pt x="1091" y="392"/>
                      <a:pt x="1091" y="392"/>
                    </a:cubicBezTo>
                    <a:cubicBezTo>
                      <a:pt x="1085" y="392"/>
                      <a:pt x="1081" y="397"/>
                      <a:pt x="1081" y="402"/>
                    </a:cubicBezTo>
                    <a:cubicBezTo>
                      <a:pt x="1081" y="589"/>
                      <a:pt x="1081" y="589"/>
                      <a:pt x="1081" y="589"/>
                    </a:cubicBezTo>
                    <a:cubicBezTo>
                      <a:pt x="1081" y="594"/>
                      <a:pt x="1085" y="599"/>
                      <a:pt x="1091" y="599"/>
                    </a:cubicBezTo>
                    <a:close/>
                    <a:moveTo>
                      <a:pt x="1091" y="348"/>
                    </a:moveTo>
                    <a:cubicBezTo>
                      <a:pt x="1271" y="348"/>
                      <a:pt x="1271" y="348"/>
                      <a:pt x="1271" y="348"/>
                    </a:cubicBezTo>
                    <a:cubicBezTo>
                      <a:pt x="1277" y="348"/>
                      <a:pt x="1281" y="344"/>
                      <a:pt x="1281" y="338"/>
                    </a:cubicBezTo>
                    <a:cubicBezTo>
                      <a:pt x="1281" y="151"/>
                      <a:pt x="1281" y="151"/>
                      <a:pt x="1281" y="151"/>
                    </a:cubicBezTo>
                    <a:cubicBezTo>
                      <a:pt x="1281" y="146"/>
                      <a:pt x="1277" y="141"/>
                      <a:pt x="1271" y="141"/>
                    </a:cubicBezTo>
                    <a:cubicBezTo>
                      <a:pt x="1091" y="141"/>
                      <a:pt x="1091" y="141"/>
                      <a:pt x="1091" y="141"/>
                    </a:cubicBezTo>
                    <a:cubicBezTo>
                      <a:pt x="1085" y="141"/>
                      <a:pt x="1081" y="146"/>
                      <a:pt x="1081" y="151"/>
                    </a:cubicBezTo>
                    <a:cubicBezTo>
                      <a:pt x="1081" y="338"/>
                      <a:pt x="1081" y="338"/>
                      <a:pt x="1081" y="338"/>
                    </a:cubicBezTo>
                    <a:cubicBezTo>
                      <a:pt x="1081" y="344"/>
                      <a:pt x="1085" y="348"/>
                      <a:pt x="1091" y="348"/>
                    </a:cubicBezTo>
                    <a:close/>
                    <a:moveTo>
                      <a:pt x="527" y="1018"/>
                    </a:moveTo>
                    <a:cubicBezTo>
                      <a:pt x="527" y="1479"/>
                      <a:pt x="527" y="1479"/>
                      <a:pt x="527" y="1479"/>
                    </a:cubicBezTo>
                    <a:cubicBezTo>
                      <a:pt x="527" y="1485"/>
                      <a:pt x="522" y="1489"/>
                      <a:pt x="517" y="1489"/>
                    </a:cubicBezTo>
                    <a:cubicBezTo>
                      <a:pt x="10" y="1489"/>
                      <a:pt x="10" y="1489"/>
                      <a:pt x="10" y="1489"/>
                    </a:cubicBezTo>
                    <a:cubicBezTo>
                      <a:pt x="4" y="1489"/>
                      <a:pt x="0" y="1485"/>
                      <a:pt x="0" y="1479"/>
                    </a:cubicBezTo>
                    <a:cubicBezTo>
                      <a:pt x="0" y="1018"/>
                      <a:pt x="0" y="1018"/>
                      <a:pt x="0" y="1018"/>
                    </a:cubicBezTo>
                    <a:cubicBezTo>
                      <a:pt x="0" y="1013"/>
                      <a:pt x="4" y="1008"/>
                      <a:pt x="10" y="1008"/>
                    </a:cubicBezTo>
                    <a:cubicBezTo>
                      <a:pt x="517" y="1008"/>
                      <a:pt x="517" y="1008"/>
                      <a:pt x="517" y="1008"/>
                    </a:cubicBezTo>
                    <a:cubicBezTo>
                      <a:pt x="522" y="1008"/>
                      <a:pt x="527" y="1013"/>
                      <a:pt x="527" y="1018"/>
                    </a:cubicBezTo>
                    <a:close/>
                    <a:moveTo>
                      <a:pt x="484" y="1350"/>
                    </a:moveTo>
                    <a:cubicBezTo>
                      <a:pt x="430" y="1296"/>
                      <a:pt x="430" y="1296"/>
                      <a:pt x="430" y="1296"/>
                    </a:cubicBezTo>
                    <a:cubicBezTo>
                      <a:pt x="430" y="1296"/>
                      <a:pt x="430" y="1296"/>
                      <a:pt x="430" y="1296"/>
                    </a:cubicBezTo>
                    <a:cubicBezTo>
                      <a:pt x="429" y="1295"/>
                      <a:pt x="428" y="1294"/>
                      <a:pt x="427" y="1293"/>
                    </a:cubicBezTo>
                    <a:cubicBezTo>
                      <a:pt x="427" y="1293"/>
                      <a:pt x="427" y="1293"/>
                      <a:pt x="427" y="1293"/>
                    </a:cubicBezTo>
                    <a:cubicBezTo>
                      <a:pt x="426" y="1292"/>
                      <a:pt x="424" y="1292"/>
                      <a:pt x="423" y="1291"/>
                    </a:cubicBezTo>
                    <a:cubicBezTo>
                      <a:pt x="423" y="1291"/>
                      <a:pt x="423" y="1291"/>
                      <a:pt x="423" y="1291"/>
                    </a:cubicBezTo>
                    <a:cubicBezTo>
                      <a:pt x="422" y="1291"/>
                      <a:pt x="420" y="1290"/>
                      <a:pt x="419" y="1290"/>
                    </a:cubicBezTo>
                    <a:cubicBezTo>
                      <a:pt x="419" y="1290"/>
                      <a:pt x="419" y="1290"/>
                      <a:pt x="419" y="1290"/>
                    </a:cubicBezTo>
                    <a:cubicBezTo>
                      <a:pt x="418" y="1290"/>
                      <a:pt x="416" y="1290"/>
                      <a:pt x="415" y="1290"/>
                    </a:cubicBezTo>
                    <a:cubicBezTo>
                      <a:pt x="413" y="1290"/>
                      <a:pt x="412" y="1290"/>
                      <a:pt x="411" y="1290"/>
                    </a:cubicBezTo>
                    <a:cubicBezTo>
                      <a:pt x="411" y="1290"/>
                      <a:pt x="411" y="1290"/>
                      <a:pt x="411" y="1290"/>
                    </a:cubicBezTo>
                    <a:cubicBezTo>
                      <a:pt x="409" y="1290"/>
                      <a:pt x="408" y="1291"/>
                      <a:pt x="407" y="1291"/>
                    </a:cubicBezTo>
                    <a:cubicBezTo>
                      <a:pt x="407" y="1291"/>
                      <a:pt x="406" y="1291"/>
                      <a:pt x="406" y="1291"/>
                    </a:cubicBezTo>
                    <a:cubicBezTo>
                      <a:pt x="405" y="1292"/>
                      <a:pt x="404" y="1292"/>
                      <a:pt x="403" y="1293"/>
                    </a:cubicBezTo>
                    <a:cubicBezTo>
                      <a:pt x="403" y="1293"/>
                      <a:pt x="403" y="1293"/>
                      <a:pt x="403" y="1293"/>
                    </a:cubicBezTo>
                    <a:cubicBezTo>
                      <a:pt x="401" y="1294"/>
                      <a:pt x="400" y="1295"/>
                      <a:pt x="399" y="1296"/>
                    </a:cubicBezTo>
                    <a:cubicBezTo>
                      <a:pt x="399" y="1296"/>
                      <a:pt x="399" y="1296"/>
                      <a:pt x="399" y="1296"/>
                    </a:cubicBezTo>
                    <a:cubicBezTo>
                      <a:pt x="345" y="1350"/>
                      <a:pt x="345" y="1350"/>
                      <a:pt x="345" y="1350"/>
                    </a:cubicBezTo>
                    <a:cubicBezTo>
                      <a:pt x="337" y="1359"/>
                      <a:pt x="337" y="1372"/>
                      <a:pt x="345" y="1381"/>
                    </a:cubicBezTo>
                    <a:cubicBezTo>
                      <a:pt x="354" y="1390"/>
                      <a:pt x="368" y="1390"/>
                      <a:pt x="376" y="1381"/>
                    </a:cubicBezTo>
                    <a:cubicBezTo>
                      <a:pt x="393" y="1365"/>
                      <a:pt x="393" y="1365"/>
                      <a:pt x="393" y="1365"/>
                    </a:cubicBezTo>
                    <a:cubicBezTo>
                      <a:pt x="393" y="1431"/>
                      <a:pt x="393" y="1431"/>
                      <a:pt x="393" y="1431"/>
                    </a:cubicBezTo>
                    <a:cubicBezTo>
                      <a:pt x="393" y="1443"/>
                      <a:pt x="403" y="1453"/>
                      <a:pt x="415" y="1453"/>
                    </a:cubicBezTo>
                    <a:cubicBezTo>
                      <a:pt x="427" y="1453"/>
                      <a:pt x="437" y="1443"/>
                      <a:pt x="437" y="1431"/>
                    </a:cubicBezTo>
                    <a:cubicBezTo>
                      <a:pt x="437" y="1365"/>
                      <a:pt x="437" y="1365"/>
                      <a:pt x="437" y="1365"/>
                    </a:cubicBezTo>
                    <a:cubicBezTo>
                      <a:pt x="453" y="1381"/>
                      <a:pt x="453" y="1381"/>
                      <a:pt x="453" y="1381"/>
                    </a:cubicBezTo>
                    <a:cubicBezTo>
                      <a:pt x="457" y="1385"/>
                      <a:pt x="463" y="1387"/>
                      <a:pt x="469" y="1387"/>
                    </a:cubicBezTo>
                    <a:cubicBezTo>
                      <a:pt x="474" y="1387"/>
                      <a:pt x="480" y="1385"/>
                      <a:pt x="484" y="1381"/>
                    </a:cubicBezTo>
                    <a:cubicBezTo>
                      <a:pt x="493" y="1372"/>
                      <a:pt x="493" y="1359"/>
                      <a:pt x="484" y="1350"/>
                    </a:cubicBezTo>
                    <a:close/>
                    <a:moveTo>
                      <a:pt x="1132" y="1135"/>
                    </a:moveTo>
                    <a:cubicBezTo>
                      <a:pt x="1132" y="1479"/>
                      <a:pt x="1132" y="1479"/>
                      <a:pt x="1132" y="1479"/>
                    </a:cubicBezTo>
                    <a:cubicBezTo>
                      <a:pt x="1132" y="1485"/>
                      <a:pt x="1128" y="1489"/>
                      <a:pt x="1122" y="1489"/>
                    </a:cubicBezTo>
                    <a:cubicBezTo>
                      <a:pt x="581" y="1489"/>
                      <a:pt x="581" y="1489"/>
                      <a:pt x="581" y="1489"/>
                    </a:cubicBezTo>
                    <a:cubicBezTo>
                      <a:pt x="575" y="1489"/>
                      <a:pt x="571" y="1485"/>
                      <a:pt x="571" y="1479"/>
                    </a:cubicBezTo>
                    <a:cubicBezTo>
                      <a:pt x="571" y="1135"/>
                      <a:pt x="571" y="1135"/>
                      <a:pt x="571" y="1135"/>
                    </a:cubicBezTo>
                    <a:cubicBezTo>
                      <a:pt x="571" y="1130"/>
                      <a:pt x="575" y="1125"/>
                      <a:pt x="581" y="1125"/>
                    </a:cubicBezTo>
                    <a:cubicBezTo>
                      <a:pt x="1122" y="1125"/>
                      <a:pt x="1122" y="1125"/>
                      <a:pt x="1122" y="1125"/>
                    </a:cubicBezTo>
                    <a:cubicBezTo>
                      <a:pt x="1128" y="1125"/>
                      <a:pt x="1132" y="1130"/>
                      <a:pt x="1132" y="1135"/>
                    </a:cubicBezTo>
                    <a:close/>
                    <a:moveTo>
                      <a:pt x="1090" y="1350"/>
                    </a:moveTo>
                    <a:cubicBezTo>
                      <a:pt x="1036" y="1296"/>
                      <a:pt x="1036" y="1296"/>
                      <a:pt x="1036" y="1296"/>
                    </a:cubicBezTo>
                    <a:cubicBezTo>
                      <a:pt x="1036" y="1296"/>
                      <a:pt x="1036" y="1296"/>
                      <a:pt x="1036" y="1296"/>
                    </a:cubicBezTo>
                    <a:cubicBezTo>
                      <a:pt x="1035" y="1295"/>
                      <a:pt x="1034" y="1294"/>
                      <a:pt x="1032" y="1293"/>
                    </a:cubicBezTo>
                    <a:cubicBezTo>
                      <a:pt x="1032" y="1293"/>
                      <a:pt x="1032" y="1293"/>
                      <a:pt x="1032" y="1293"/>
                    </a:cubicBezTo>
                    <a:cubicBezTo>
                      <a:pt x="1031" y="1292"/>
                      <a:pt x="1030" y="1292"/>
                      <a:pt x="1029" y="1291"/>
                    </a:cubicBezTo>
                    <a:cubicBezTo>
                      <a:pt x="1029" y="1291"/>
                      <a:pt x="1028" y="1291"/>
                      <a:pt x="1028" y="1291"/>
                    </a:cubicBezTo>
                    <a:cubicBezTo>
                      <a:pt x="1027" y="1291"/>
                      <a:pt x="1026" y="1290"/>
                      <a:pt x="1024" y="1290"/>
                    </a:cubicBezTo>
                    <a:cubicBezTo>
                      <a:pt x="1024" y="1290"/>
                      <a:pt x="1024" y="1290"/>
                      <a:pt x="1024" y="1290"/>
                    </a:cubicBezTo>
                    <a:cubicBezTo>
                      <a:pt x="1023" y="1290"/>
                      <a:pt x="1022" y="1290"/>
                      <a:pt x="1020" y="1290"/>
                    </a:cubicBezTo>
                    <a:cubicBezTo>
                      <a:pt x="1019" y="1290"/>
                      <a:pt x="1017" y="1290"/>
                      <a:pt x="1016" y="1290"/>
                    </a:cubicBezTo>
                    <a:cubicBezTo>
                      <a:pt x="1016" y="1290"/>
                      <a:pt x="1016" y="1290"/>
                      <a:pt x="1016" y="1290"/>
                    </a:cubicBezTo>
                    <a:cubicBezTo>
                      <a:pt x="1015" y="1290"/>
                      <a:pt x="1013" y="1291"/>
                      <a:pt x="1012" y="1291"/>
                    </a:cubicBezTo>
                    <a:cubicBezTo>
                      <a:pt x="1012" y="1291"/>
                      <a:pt x="1012" y="1291"/>
                      <a:pt x="1012" y="1291"/>
                    </a:cubicBezTo>
                    <a:cubicBezTo>
                      <a:pt x="1011" y="1292"/>
                      <a:pt x="1009" y="1292"/>
                      <a:pt x="1008" y="1293"/>
                    </a:cubicBezTo>
                    <a:cubicBezTo>
                      <a:pt x="1008" y="1293"/>
                      <a:pt x="1008" y="1293"/>
                      <a:pt x="1008" y="1293"/>
                    </a:cubicBezTo>
                    <a:cubicBezTo>
                      <a:pt x="1007" y="1294"/>
                      <a:pt x="1006" y="1295"/>
                      <a:pt x="1005" y="1296"/>
                    </a:cubicBezTo>
                    <a:cubicBezTo>
                      <a:pt x="1005" y="1296"/>
                      <a:pt x="1005" y="1296"/>
                      <a:pt x="1005" y="1296"/>
                    </a:cubicBezTo>
                    <a:cubicBezTo>
                      <a:pt x="951" y="1350"/>
                      <a:pt x="951" y="1350"/>
                      <a:pt x="951" y="1350"/>
                    </a:cubicBezTo>
                    <a:cubicBezTo>
                      <a:pt x="942" y="1359"/>
                      <a:pt x="942" y="1372"/>
                      <a:pt x="951" y="1381"/>
                    </a:cubicBezTo>
                    <a:cubicBezTo>
                      <a:pt x="959" y="1390"/>
                      <a:pt x="973" y="1390"/>
                      <a:pt x="982" y="1381"/>
                    </a:cubicBezTo>
                    <a:cubicBezTo>
                      <a:pt x="998" y="1365"/>
                      <a:pt x="998" y="1365"/>
                      <a:pt x="998" y="1365"/>
                    </a:cubicBezTo>
                    <a:cubicBezTo>
                      <a:pt x="998" y="1431"/>
                      <a:pt x="998" y="1431"/>
                      <a:pt x="998" y="1431"/>
                    </a:cubicBezTo>
                    <a:cubicBezTo>
                      <a:pt x="998" y="1443"/>
                      <a:pt x="1008" y="1453"/>
                      <a:pt x="1020" y="1453"/>
                    </a:cubicBezTo>
                    <a:cubicBezTo>
                      <a:pt x="1032" y="1453"/>
                      <a:pt x="1042" y="1443"/>
                      <a:pt x="1042" y="1431"/>
                    </a:cubicBezTo>
                    <a:cubicBezTo>
                      <a:pt x="1042" y="1365"/>
                      <a:pt x="1042" y="1365"/>
                      <a:pt x="1042" y="1365"/>
                    </a:cubicBezTo>
                    <a:cubicBezTo>
                      <a:pt x="1059" y="1381"/>
                      <a:pt x="1059" y="1381"/>
                      <a:pt x="1059" y="1381"/>
                    </a:cubicBezTo>
                    <a:cubicBezTo>
                      <a:pt x="1063" y="1385"/>
                      <a:pt x="1069" y="1387"/>
                      <a:pt x="1074" y="1387"/>
                    </a:cubicBezTo>
                    <a:cubicBezTo>
                      <a:pt x="1080" y="1387"/>
                      <a:pt x="1085" y="1385"/>
                      <a:pt x="1090" y="1381"/>
                    </a:cubicBezTo>
                    <a:cubicBezTo>
                      <a:pt x="1098" y="1372"/>
                      <a:pt x="1098" y="1359"/>
                      <a:pt x="1090" y="1350"/>
                    </a:cubicBezTo>
                    <a:close/>
                    <a:moveTo>
                      <a:pt x="1037" y="10"/>
                    </a:moveTo>
                    <a:cubicBezTo>
                      <a:pt x="1037" y="589"/>
                      <a:pt x="1037" y="589"/>
                      <a:pt x="1037" y="589"/>
                    </a:cubicBezTo>
                    <a:cubicBezTo>
                      <a:pt x="1037" y="594"/>
                      <a:pt x="1032" y="599"/>
                      <a:pt x="1027" y="599"/>
                    </a:cubicBezTo>
                    <a:cubicBezTo>
                      <a:pt x="477" y="599"/>
                      <a:pt x="477" y="599"/>
                      <a:pt x="477" y="599"/>
                    </a:cubicBezTo>
                    <a:cubicBezTo>
                      <a:pt x="472" y="599"/>
                      <a:pt x="467" y="594"/>
                      <a:pt x="467" y="589"/>
                    </a:cubicBezTo>
                    <a:cubicBezTo>
                      <a:pt x="467" y="10"/>
                      <a:pt x="467" y="10"/>
                      <a:pt x="467" y="10"/>
                    </a:cubicBezTo>
                    <a:cubicBezTo>
                      <a:pt x="467" y="5"/>
                      <a:pt x="472" y="0"/>
                      <a:pt x="477" y="0"/>
                    </a:cubicBezTo>
                    <a:cubicBezTo>
                      <a:pt x="1027" y="0"/>
                      <a:pt x="1027" y="0"/>
                      <a:pt x="1027" y="0"/>
                    </a:cubicBezTo>
                    <a:cubicBezTo>
                      <a:pt x="1032" y="0"/>
                      <a:pt x="1037" y="5"/>
                      <a:pt x="1037" y="10"/>
                    </a:cubicBezTo>
                    <a:close/>
                    <a:moveTo>
                      <a:pt x="994" y="459"/>
                    </a:moveTo>
                    <a:cubicBezTo>
                      <a:pt x="940" y="405"/>
                      <a:pt x="940" y="405"/>
                      <a:pt x="940" y="405"/>
                    </a:cubicBezTo>
                    <a:cubicBezTo>
                      <a:pt x="940" y="405"/>
                      <a:pt x="940" y="405"/>
                      <a:pt x="940" y="405"/>
                    </a:cubicBezTo>
                    <a:cubicBezTo>
                      <a:pt x="939" y="404"/>
                      <a:pt x="938" y="403"/>
                      <a:pt x="937" y="403"/>
                    </a:cubicBezTo>
                    <a:cubicBezTo>
                      <a:pt x="937" y="403"/>
                      <a:pt x="937" y="402"/>
                      <a:pt x="937" y="402"/>
                    </a:cubicBezTo>
                    <a:cubicBezTo>
                      <a:pt x="935" y="402"/>
                      <a:pt x="934" y="401"/>
                      <a:pt x="933" y="401"/>
                    </a:cubicBezTo>
                    <a:cubicBezTo>
                      <a:pt x="933" y="400"/>
                      <a:pt x="933" y="400"/>
                      <a:pt x="933" y="400"/>
                    </a:cubicBezTo>
                    <a:cubicBezTo>
                      <a:pt x="932" y="400"/>
                      <a:pt x="930" y="400"/>
                      <a:pt x="929" y="399"/>
                    </a:cubicBezTo>
                    <a:cubicBezTo>
                      <a:pt x="929" y="399"/>
                      <a:pt x="929" y="399"/>
                      <a:pt x="929" y="399"/>
                    </a:cubicBezTo>
                    <a:cubicBezTo>
                      <a:pt x="927" y="399"/>
                      <a:pt x="926" y="399"/>
                      <a:pt x="925" y="399"/>
                    </a:cubicBezTo>
                    <a:cubicBezTo>
                      <a:pt x="923" y="399"/>
                      <a:pt x="922" y="399"/>
                      <a:pt x="921" y="399"/>
                    </a:cubicBezTo>
                    <a:cubicBezTo>
                      <a:pt x="921" y="399"/>
                      <a:pt x="920" y="399"/>
                      <a:pt x="920" y="399"/>
                    </a:cubicBezTo>
                    <a:cubicBezTo>
                      <a:pt x="919" y="400"/>
                      <a:pt x="918" y="400"/>
                      <a:pt x="917" y="400"/>
                    </a:cubicBezTo>
                    <a:cubicBezTo>
                      <a:pt x="916" y="400"/>
                      <a:pt x="916" y="400"/>
                      <a:pt x="916" y="401"/>
                    </a:cubicBezTo>
                    <a:cubicBezTo>
                      <a:pt x="915" y="401"/>
                      <a:pt x="914" y="402"/>
                      <a:pt x="913" y="402"/>
                    </a:cubicBezTo>
                    <a:cubicBezTo>
                      <a:pt x="913" y="402"/>
                      <a:pt x="913" y="403"/>
                      <a:pt x="913" y="403"/>
                    </a:cubicBezTo>
                    <a:cubicBezTo>
                      <a:pt x="911" y="403"/>
                      <a:pt x="910" y="404"/>
                      <a:pt x="909" y="405"/>
                    </a:cubicBezTo>
                    <a:cubicBezTo>
                      <a:pt x="909" y="405"/>
                      <a:pt x="909" y="405"/>
                      <a:pt x="909" y="405"/>
                    </a:cubicBezTo>
                    <a:cubicBezTo>
                      <a:pt x="855" y="459"/>
                      <a:pt x="855" y="459"/>
                      <a:pt x="855" y="459"/>
                    </a:cubicBezTo>
                    <a:cubicBezTo>
                      <a:pt x="847" y="468"/>
                      <a:pt x="847" y="482"/>
                      <a:pt x="855" y="490"/>
                    </a:cubicBezTo>
                    <a:cubicBezTo>
                      <a:pt x="864" y="499"/>
                      <a:pt x="878" y="499"/>
                      <a:pt x="886" y="490"/>
                    </a:cubicBezTo>
                    <a:cubicBezTo>
                      <a:pt x="903" y="474"/>
                      <a:pt x="903" y="474"/>
                      <a:pt x="903" y="474"/>
                    </a:cubicBezTo>
                    <a:cubicBezTo>
                      <a:pt x="903" y="541"/>
                      <a:pt x="903" y="541"/>
                      <a:pt x="903" y="541"/>
                    </a:cubicBezTo>
                    <a:cubicBezTo>
                      <a:pt x="903" y="553"/>
                      <a:pt x="913" y="563"/>
                      <a:pt x="925" y="563"/>
                    </a:cubicBezTo>
                    <a:cubicBezTo>
                      <a:pt x="937" y="563"/>
                      <a:pt x="947" y="553"/>
                      <a:pt x="947" y="541"/>
                    </a:cubicBezTo>
                    <a:cubicBezTo>
                      <a:pt x="947" y="474"/>
                      <a:pt x="947" y="474"/>
                      <a:pt x="947" y="474"/>
                    </a:cubicBezTo>
                    <a:cubicBezTo>
                      <a:pt x="963" y="490"/>
                      <a:pt x="963" y="490"/>
                      <a:pt x="963" y="490"/>
                    </a:cubicBezTo>
                    <a:cubicBezTo>
                      <a:pt x="967" y="495"/>
                      <a:pt x="973" y="497"/>
                      <a:pt x="979" y="497"/>
                    </a:cubicBezTo>
                    <a:cubicBezTo>
                      <a:pt x="984" y="497"/>
                      <a:pt x="990" y="495"/>
                      <a:pt x="994" y="490"/>
                    </a:cubicBezTo>
                    <a:cubicBezTo>
                      <a:pt x="1003" y="482"/>
                      <a:pt x="1003" y="468"/>
                      <a:pt x="994" y="459"/>
                    </a:cubicBezTo>
                    <a:close/>
                    <a:moveTo>
                      <a:pt x="1784" y="247"/>
                    </a:moveTo>
                    <a:cubicBezTo>
                      <a:pt x="1784" y="589"/>
                      <a:pt x="1784" y="589"/>
                      <a:pt x="1784" y="589"/>
                    </a:cubicBezTo>
                    <a:cubicBezTo>
                      <a:pt x="1784" y="594"/>
                      <a:pt x="1780" y="599"/>
                      <a:pt x="1774" y="599"/>
                    </a:cubicBezTo>
                    <a:cubicBezTo>
                      <a:pt x="1335" y="599"/>
                      <a:pt x="1335" y="599"/>
                      <a:pt x="1335" y="599"/>
                    </a:cubicBezTo>
                    <a:cubicBezTo>
                      <a:pt x="1330" y="599"/>
                      <a:pt x="1325" y="594"/>
                      <a:pt x="1325" y="589"/>
                    </a:cubicBezTo>
                    <a:cubicBezTo>
                      <a:pt x="1325" y="247"/>
                      <a:pt x="1325" y="247"/>
                      <a:pt x="1325" y="247"/>
                    </a:cubicBezTo>
                    <a:cubicBezTo>
                      <a:pt x="1325" y="242"/>
                      <a:pt x="1330" y="237"/>
                      <a:pt x="1335" y="237"/>
                    </a:cubicBezTo>
                    <a:cubicBezTo>
                      <a:pt x="1774" y="237"/>
                      <a:pt x="1774" y="237"/>
                      <a:pt x="1774" y="237"/>
                    </a:cubicBezTo>
                    <a:cubicBezTo>
                      <a:pt x="1780" y="237"/>
                      <a:pt x="1784" y="242"/>
                      <a:pt x="1784" y="247"/>
                    </a:cubicBezTo>
                    <a:close/>
                    <a:moveTo>
                      <a:pt x="1741" y="459"/>
                    </a:moveTo>
                    <a:cubicBezTo>
                      <a:pt x="1688" y="405"/>
                      <a:pt x="1688" y="405"/>
                      <a:pt x="1688" y="405"/>
                    </a:cubicBezTo>
                    <a:cubicBezTo>
                      <a:pt x="1688" y="405"/>
                      <a:pt x="1688" y="405"/>
                      <a:pt x="1688" y="405"/>
                    </a:cubicBezTo>
                    <a:cubicBezTo>
                      <a:pt x="1687" y="404"/>
                      <a:pt x="1685" y="403"/>
                      <a:pt x="1684" y="403"/>
                    </a:cubicBezTo>
                    <a:cubicBezTo>
                      <a:pt x="1684" y="403"/>
                      <a:pt x="1684" y="402"/>
                      <a:pt x="1684" y="402"/>
                    </a:cubicBezTo>
                    <a:cubicBezTo>
                      <a:pt x="1683" y="402"/>
                      <a:pt x="1682" y="401"/>
                      <a:pt x="1680" y="401"/>
                    </a:cubicBezTo>
                    <a:cubicBezTo>
                      <a:pt x="1680" y="400"/>
                      <a:pt x="1680" y="400"/>
                      <a:pt x="1680" y="400"/>
                    </a:cubicBezTo>
                    <a:cubicBezTo>
                      <a:pt x="1679" y="400"/>
                      <a:pt x="1678" y="400"/>
                      <a:pt x="1676" y="399"/>
                    </a:cubicBezTo>
                    <a:cubicBezTo>
                      <a:pt x="1676" y="399"/>
                      <a:pt x="1676" y="399"/>
                      <a:pt x="1676" y="399"/>
                    </a:cubicBezTo>
                    <a:cubicBezTo>
                      <a:pt x="1675" y="399"/>
                      <a:pt x="1673" y="399"/>
                      <a:pt x="1672" y="399"/>
                    </a:cubicBezTo>
                    <a:cubicBezTo>
                      <a:pt x="1671" y="399"/>
                      <a:pt x="1669" y="399"/>
                      <a:pt x="1668" y="399"/>
                    </a:cubicBezTo>
                    <a:cubicBezTo>
                      <a:pt x="1668" y="399"/>
                      <a:pt x="1668" y="399"/>
                      <a:pt x="1668" y="399"/>
                    </a:cubicBezTo>
                    <a:cubicBezTo>
                      <a:pt x="1666" y="400"/>
                      <a:pt x="1665" y="400"/>
                      <a:pt x="1664" y="400"/>
                    </a:cubicBezTo>
                    <a:cubicBezTo>
                      <a:pt x="1664" y="400"/>
                      <a:pt x="1664" y="400"/>
                      <a:pt x="1664" y="401"/>
                    </a:cubicBezTo>
                    <a:cubicBezTo>
                      <a:pt x="1662" y="401"/>
                      <a:pt x="1661" y="402"/>
                      <a:pt x="1660" y="402"/>
                    </a:cubicBezTo>
                    <a:cubicBezTo>
                      <a:pt x="1660" y="402"/>
                      <a:pt x="1660" y="403"/>
                      <a:pt x="1660" y="403"/>
                    </a:cubicBezTo>
                    <a:cubicBezTo>
                      <a:pt x="1659" y="403"/>
                      <a:pt x="1657" y="404"/>
                      <a:pt x="1656" y="405"/>
                    </a:cubicBezTo>
                    <a:cubicBezTo>
                      <a:pt x="1656" y="405"/>
                      <a:pt x="1656" y="405"/>
                      <a:pt x="1656" y="405"/>
                    </a:cubicBezTo>
                    <a:cubicBezTo>
                      <a:pt x="1603" y="459"/>
                      <a:pt x="1603" y="459"/>
                      <a:pt x="1603" y="459"/>
                    </a:cubicBezTo>
                    <a:cubicBezTo>
                      <a:pt x="1594" y="468"/>
                      <a:pt x="1594" y="482"/>
                      <a:pt x="1603" y="490"/>
                    </a:cubicBezTo>
                    <a:cubicBezTo>
                      <a:pt x="1611" y="499"/>
                      <a:pt x="1625" y="499"/>
                      <a:pt x="1634" y="490"/>
                    </a:cubicBezTo>
                    <a:cubicBezTo>
                      <a:pt x="1650" y="474"/>
                      <a:pt x="1650" y="474"/>
                      <a:pt x="1650" y="474"/>
                    </a:cubicBezTo>
                    <a:cubicBezTo>
                      <a:pt x="1650" y="541"/>
                      <a:pt x="1650" y="541"/>
                      <a:pt x="1650" y="541"/>
                    </a:cubicBezTo>
                    <a:cubicBezTo>
                      <a:pt x="1650" y="553"/>
                      <a:pt x="1660" y="563"/>
                      <a:pt x="1672" y="563"/>
                    </a:cubicBezTo>
                    <a:cubicBezTo>
                      <a:pt x="1684" y="563"/>
                      <a:pt x="1694" y="553"/>
                      <a:pt x="1694" y="541"/>
                    </a:cubicBezTo>
                    <a:cubicBezTo>
                      <a:pt x="1694" y="474"/>
                      <a:pt x="1694" y="474"/>
                      <a:pt x="1694" y="474"/>
                    </a:cubicBezTo>
                    <a:cubicBezTo>
                      <a:pt x="1710" y="490"/>
                      <a:pt x="1710" y="490"/>
                      <a:pt x="1710" y="490"/>
                    </a:cubicBezTo>
                    <a:cubicBezTo>
                      <a:pt x="1715" y="495"/>
                      <a:pt x="1720" y="497"/>
                      <a:pt x="1726" y="497"/>
                    </a:cubicBezTo>
                    <a:cubicBezTo>
                      <a:pt x="1732" y="497"/>
                      <a:pt x="1737" y="495"/>
                      <a:pt x="1741" y="490"/>
                    </a:cubicBezTo>
                    <a:cubicBezTo>
                      <a:pt x="1750" y="482"/>
                      <a:pt x="1750" y="468"/>
                      <a:pt x="1741" y="459"/>
                    </a:cubicBezTo>
                    <a:close/>
                    <a:moveTo>
                      <a:pt x="423" y="247"/>
                    </a:moveTo>
                    <a:cubicBezTo>
                      <a:pt x="423" y="589"/>
                      <a:pt x="423" y="589"/>
                      <a:pt x="423" y="589"/>
                    </a:cubicBezTo>
                    <a:cubicBezTo>
                      <a:pt x="423" y="594"/>
                      <a:pt x="419" y="599"/>
                      <a:pt x="413" y="599"/>
                    </a:cubicBezTo>
                    <a:cubicBezTo>
                      <a:pt x="10" y="599"/>
                      <a:pt x="10" y="599"/>
                      <a:pt x="10" y="599"/>
                    </a:cubicBezTo>
                    <a:cubicBezTo>
                      <a:pt x="4" y="599"/>
                      <a:pt x="0" y="594"/>
                      <a:pt x="0" y="589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42"/>
                      <a:pt x="4" y="237"/>
                      <a:pt x="10" y="237"/>
                    </a:cubicBezTo>
                    <a:cubicBezTo>
                      <a:pt x="413" y="237"/>
                      <a:pt x="413" y="237"/>
                      <a:pt x="413" y="237"/>
                    </a:cubicBezTo>
                    <a:cubicBezTo>
                      <a:pt x="419" y="237"/>
                      <a:pt x="423" y="242"/>
                      <a:pt x="423" y="247"/>
                    </a:cubicBezTo>
                    <a:close/>
                    <a:moveTo>
                      <a:pt x="381" y="459"/>
                    </a:moveTo>
                    <a:cubicBezTo>
                      <a:pt x="327" y="405"/>
                      <a:pt x="327" y="405"/>
                      <a:pt x="327" y="405"/>
                    </a:cubicBezTo>
                    <a:cubicBezTo>
                      <a:pt x="327" y="405"/>
                      <a:pt x="327" y="405"/>
                      <a:pt x="327" y="405"/>
                    </a:cubicBezTo>
                    <a:cubicBezTo>
                      <a:pt x="326" y="404"/>
                      <a:pt x="325" y="403"/>
                      <a:pt x="324" y="403"/>
                    </a:cubicBezTo>
                    <a:cubicBezTo>
                      <a:pt x="323" y="403"/>
                      <a:pt x="323" y="402"/>
                      <a:pt x="323" y="402"/>
                    </a:cubicBezTo>
                    <a:cubicBezTo>
                      <a:pt x="322" y="402"/>
                      <a:pt x="321" y="401"/>
                      <a:pt x="320" y="401"/>
                    </a:cubicBezTo>
                    <a:cubicBezTo>
                      <a:pt x="320" y="400"/>
                      <a:pt x="320" y="400"/>
                      <a:pt x="319" y="400"/>
                    </a:cubicBezTo>
                    <a:cubicBezTo>
                      <a:pt x="318" y="400"/>
                      <a:pt x="317" y="400"/>
                      <a:pt x="316" y="399"/>
                    </a:cubicBezTo>
                    <a:cubicBezTo>
                      <a:pt x="316" y="399"/>
                      <a:pt x="315" y="399"/>
                      <a:pt x="315" y="399"/>
                    </a:cubicBezTo>
                    <a:cubicBezTo>
                      <a:pt x="314" y="399"/>
                      <a:pt x="313" y="399"/>
                      <a:pt x="311" y="399"/>
                    </a:cubicBezTo>
                    <a:cubicBezTo>
                      <a:pt x="310" y="399"/>
                      <a:pt x="309" y="399"/>
                      <a:pt x="307" y="399"/>
                    </a:cubicBezTo>
                    <a:cubicBezTo>
                      <a:pt x="307" y="399"/>
                      <a:pt x="307" y="399"/>
                      <a:pt x="307" y="399"/>
                    </a:cubicBezTo>
                    <a:cubicBezTo>
                      <a:pt x="306" y="400"/>
                      <a:pt x="304" y="400"/>
                      <a:pt x="303" y="400"/>
                    </a:cubicBezTo>
                    <a:cubicBezTo>
                      <a:pt x="303" y="400"/>
                      <a:pt x="303" y="400"/>
                      <a:pt x="303" y="401"/>
                    </a:cubicBezTo>
                    <a:cubicBezTo>
                      <a:pt x="302" y="401"/>
                      <a:pt x="301" y="402"/>
                      <a:pt x="299" y="402"/>
                    </a:cubicBezTo>
                    <a:cubicBezTo>
                      <a:pt x="299" y="402"/>
                      <a:pt x="299" y="403"/>
                      <a:pt x="299" y="403"/>
                    </a:cubicBezTo>
                    <a:cubicBezTo>
                      <a:pt x="298" y="403"/>
                      <a:pt x="297" y="404"/>
                      <a:pt x="296" y="405"/>
                    </a:cubicBezTo>
                    <a:cubicBezTo>
                      <a:pt x="296" y="405"/>
                      <a:pt x="296" y="405"/>
                      <a:pt x="296" y="405"/>
                    </a:cubicBezTo>
                    <a:cubicBezTo>
                      <a:pt x="242" y="459"/>
                      <a:pt x="242" y="459"/>
                      <a:pt x="242" y="459"/>
                    </a:cubicBezTo>
                    <a:cubicBezTo>
                      <a:pt x="233" y="468"/>
                      <a:pt x="233" y="482"/>
                      <a:pt x="242" y="490"/>
                    </a:cubicBezTo>
                    <a:cubicBezTo>
                      <a:pt x="250" y="499"/>
                      <a:pt x="264" y="499"/>
                      <a:pt x="273" y="490"/>
                    </a:cubicBezTo>
                    <a:cubicBezTo>
                      <a:pt x="289" y="474"/>
                      <a:pt x="289" y="474"/>
                      <a:pt x="289" y="474"/>
                    </a:cubicBezTo>
                    <a:cubicBezTo>
                      <a:pt x="289" y="541"/>
                      <a:pt x="289" y="541"/>
                      <a:pt x="289" y="541"/>
                    </a:cubicBezTo>
                    <a:cubicBezTo>
                      <a:pt x="289" y="553"/>
                      <a:pt x="299" y="563"/>
                      <a:pt x="311" y="563"/>
                    </a:cubicBezTo>
                    <a:cubicBezTo>
                      <a:pt x="323" y="563"/>
                      <a:pt x="333" y="553"/>
                      <a:pt x="333" y="541"/>
                    </a:cubicBezTo>
                    <a:cubicBezTo>
                      <a:pt x="333" y="474"/>
                      <a:pt x="333" y="474"/>
                      <a:pt x="333" y="474"/>
                    </a:cubicBezTo>
                    <a:cubicBezTo>
                      <a:pt x="350" y="490"/>
                      <a:pt x="350" y="490"/>
                      <a:pt x="350" y="490"/>
                    </a:cubicBezTo>
                    <a:cubicBezTo>
                      <a:pt x="354" y="495"/>
                      <a:pt x="360" y="497"/>
                      <a:pt x="365" y="497"/>
                    </a:cubicBezTo>
                    <a:cubicBezTo>
                      <a:pt x="371" y="497"/>
                      <a:pt x="377" y="495"/>
                      <a:pt x="381" y="490"/>
                    </a:cubicBezTo>
                    <a:cubicBezTo>
                      <a:pt x="389" y="482"/>
                      <a:pt x="389" y="468"/>
                      <a:pt x="381" y="459"/>
                    </a:cubicBezTo>
                    <a:close/>
                    <a:moveTo>
                      <a:pt x="1784" y="963"/>
                    </a:moveTo>
                    <a:cubicBezTo>
                      <a:pt x="1784" y="1479"/>
                      <a:pt x="1784" y="1479"/>
                      <a:pt x="1784" y="1479"/>
                    </a:cubicBezTo>
                    <a:cubicBezTo>
                      <a:pt x="1784" y="1485"/>
                      <a:pt x="1780" y="1489"/>
                      <a:pt x="1774" y="1489"/>
                    </a:cubicBezTo>
                    <a:cubicBezTo>
                      <a:pt x="1186" y="1489"/>
                      <a:pt x="1186" y="1489"/>
                      <a:pt x="1186" y="1489"/>
                    </a:cubicBezTo>
                    <a:cubicBezTo>
                      <a:pt x="1181" y="1489"/>
                      <a:pt x="1176" y="1485"/>
                      <a:pt x="1176" y="1479"/>
                    </a:cubicBezTo>
                    <a:cubicBezTo>
                      <a:pt x="1176" y="963"/>
                      <a:pt x="1176" y="963"/>
                      <a:pt x="1176" y="963"/>
                    </a:cubicBezTo>
                    <a:cubicBezTo>
                      <a:pt x="1176" y="958"/>
                      <a:pt x="1181" y="953"/>
                      <a:pt x="1186" y="953"/>
                    </a:cubicBezTo>
                    <a:cubicBezTo>
                      <a:pt x="1774" y="953"/>
                      <a:pt x="1774" y="953"/>
                      <a:pt x="1774" y="953"/>
                    </a:cubicBezTo>
                    <a:cubicBezTo>
                      <a:pt x="1780" y="953"/>
                      <a:pt x="1784" y="958"/>
                      <a:pt x="1784" y="963"/>
                    </a:cubicBezTo>
                    <a:close/>
                    <a:moveTo>
                      <a:pt x="1741" y="1350"/>
                    </a:moveTo>
                    <a:cubicBezTo>
                      <a:pt x="1688" y="1296"/>
                      <a:pt x="1688" y="1296"/>
                      <a:pt x="1688" y="1296"/>
                    </a:cubicBezTo>
                    <a:cubicBezTo>
                      <a:pt x="1688" y="1296"/>
                      <a:pt x="1688" y="1296"/>
                      <a:pt x="1688" y="1296"/>
                    </a:cubicBezTo>
                    <a:cubicBezTo>
                      <a:pt x="1687" y="1295"/>
                      <a:pt x="1685" y="1294"/>
                      <a:pt x="1684" y="1293"/>
                    </a:cubicBezTo>
                    <a:cubicBezTo>
                      <a:pt x="1684" y="1293"/>
                      <a:pt x="1684" y="1293"/>
                      <a:pt x="1684" y="1293"/>
                    </a:cubicBezTo>
                    <a:cubicBezTo>
                      <a:pt x="1683" y="1292"/>
                      <a:pt x="1682" y="1292"/>
                      <a:pt x="1680" y="1291"/>
                    </a:cubicBezTo>
                    <a:cubicBezTo>
                      <a:pt x="1680" y="1291"/>
                      <a:pt x="1680" y="1291"/>
                      <a:pt x="1680" y="1291"/>
                    </a:cubicBezTo>
                    <a:cubicBezTo>
                      <a:pt x="1679" y="1291"/>
                      <a:pt x="1678" y="1290"/>
                      <a:pt x="1676" y="1290"/>
                    </a:cubicBezTo>
                    <a:cubicBezTo>
                      <a:pt x="1676" y="1290"/>
                      <a:pt x="1676" y="1290"/>
                      <a:pt x="1676" y="1290"/>
                    </a:cubicBezTo>
                    <a:cubicBezTo>
                      <a:pt x="1675" y="1290"/>
                      <a:pt x="1673" y="1290"/>
                      <a:pt x="1672" y="1290"/>
                    </a:cubicBezTo>
                    <a:cubicBezTo>
                      <a:pt x="1671" y="1290"/>
                      <a:pt x="1669" y="1290"/>
                      <a:pt x="1668" y="1290"/>
                    </a:cubicBezTo>
                    <a:cubicBezTo>
                      <a:pt x="1668" y="1290"/>
                      <a:pt x="1668" y="1290"/>
                      <a:pt x="1668" y="1290"/>
                    </a:cubicBezTo>
                    <a:cubicBezTo>
                      <a:pt x="1666" y="1290"/>
                      <a:pt x="1665" y="1291"/>
                      <a:pt x="1664" y="1291"/>
                    </a:cubicBezTo>
                    <a:cubicBezTo>
                      <a:pt x="1664" y="1291"/>
                      <a:pt x="1664" y="1291"/>
                      <a:pt x="1664" y="1291"/>
                    </a:cubicBezTo>
                    <a:cubicBezTo>
                      <a:pt x="1662" y="1292"/>
                      <a:pt x="1661" y="1292"/>
                      <a:pt x="1660" y="1293"/>
                    </a:cubicBezTo>
                    <a:cubicBezTo>
                      <a:pt x="1660" y="1293"/>
                      <a:pt x="1660" y="1293"/>
                      <a:pt x="1660" y="1293"/>
                    </a:cubicBezTo>
                    <a:cubicBezTo>
                      <a:pt x="1659" y="1294"/>
                      <a:pt x="1658" y="1295"/>
                      <a:pt x="1656" y="1296"/>
                    </a:cubicBezTo>
                    <a:cubicBezTo>
                      <a:pt x="1656" y="1296"/>
                      <a:pt x="1656" y="1296"/>
                      <a:pt x="1656" y="1296"/>
                    </a:cubicBezTo>
                    <a:cubicBezTo>
                      <a:pt x="1603" y="1350"/>
                      <a:pt x="1603" y="1350"/>
                      <a:pt x="1603" y="1350"/>
                    </a:cubicBezTo>
                    <a:cubicBezTo>
                      <a:pt x="1594" y="1359"/>
                      <a:pt x="1594" y="1372"/>
                      <a:pt x="1603" y="1381"/>
                    </a:cubicBezTo>
                    <a:cubicBezTo>
                      <a:pt x="1611" y="1390"/>
                      <a:pt x="1625" y="1390"/>
                      <a:pt x="1634" y="1381"/>
                    </a:cubicBezTo>
                    <a:cubicBezTo>
                      <a:pt x="1650" y="1365"/>
                      <a:pt x="1650" y="1365"/>
                      <a:pt x="1650" y="1365"/>
                    </a:cubicBezTo>
                    <a:cubicBezTo>
                      <a:pt x="1650" y="1431"/>
                      <a:pt x="1650" y="1431"/>
                      <a:pt x="1650" y="1431"/>
                    </a:cubicBezTo>
                    <a:cubicBezTo>
                      <a:pt x="1650" y="1443"/>
                      <a:pt x="1660" y="1453"/>
                      <a:pt x="1672" y="1453"/>
                    </a:cubicBezTo>
                    <a:cubicBezTo>
                      <a:pt x="1684" y="1453"/>
                      <a:pt x="1694" y="1443"/>
                      <a:pt x="1694" y="1431"/>
                    </a:cubicBezTo>
                    <a:cubicBezTo>
                      <a:pt x="1694" y="1365"/>
                      <a:pt x="1694" y="1365"/>
                      <a:pt x="1694" y="1365"/>
                    </a:cubicBezTo>
                    <a:cubicBezTo>
                      <a:pt x="1710" y="1381"/>
                      <a:pt x="1710" y="1381"/>
                      <a:pt x="1710" y="1381"/>
                    </a:cubicBezTo>
                    <a:cubicBezTo>
                      <a:pt x="1715" y="1385"/>
                      <a:pt x="1720" y="1387"/>
                      <a:pt x="1726" y="1387"/>
                    </a:cubicBezTo>
                    <a:cubicBezTo>
                      <a:pt x="1732" y="1387"/>
                      <a:pt x="1737" y="1385"/>
                      <a:pt x="1741" y="1381"/>
                    </a:cubicBezTo>
                    <a:cubicBezTo>
                      <a:pt x="1750" y="1372"/>
                      <a:pt x="1750" y="1359"/>
                      <a:pt x="1741" y="1350"/>
                    </a:cubicBezTo>
                    <a:close/>
                  </a:path>
                </a:pathLst>
              </a:custGeom>
              <a:solidFill>
                <a:srgbClr val="5AC6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002" tIns="38999" rIns="78002" bIns="3899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0000"/>
                  </a:solidFill>
                  <a:latin typeface="Montserrat Light" panose="00000400000000000000" pitchFamily="2" charset="-52"/>
                </a:endParaRPr>
              </a:p>
            </p:txBody>
          </p:sp>
        </p:grpSp>
      </p:grpSp>
      <p:pic>
        <p:nvPicPr>
          <p:cNvPr id="81" name="Рисунок 80">
            <a:extLst>
              <a:ext uri="{FF2B5EF4-FFF2-40B4-BE49-F238E27FC236}">
                <a16:creationId xmlns:a16="http://schemas.microsoft.com/office/drawing/2014/main" id="{C8D5E9ED-1D4F-438D-80C5-589F1CA8331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20297" y="1821744"/>
            <a:ext cx="2940993" cy="390216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49CCA51B-14CB-4951-AEB1-DE745D62D732}"/>
              </a:ext>
            </a:extLst>
          </p:cNvPr>
          <p:cNvSpPr txBox="1"/>
          <p:nvPr/>
        </p:nvSpPr>
        <p:spPr>
          <a:xfrm>
            <a:off x="7702160" y="2145310"/>
            <a:ext cx="514619" cy="9335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1" u="none" strike="noStrike" cap="none" spc="0" normalizeH="0" baseline="0" dirty="0">
                <a:ln>
                  <a:noFill/>
                </a:ln>
                <a:effectLst/>
                <a:uFillTx/>
                <a:latin typeface="Montserrat Light" panose="00000400000000000000" pitchFamily="2" charset="-52"/>
                <a:ea typeface="Montserrat" charset="0"/>
                <a:cs typeface="Montserrat" charset="0"/>
                <a:sym typeface="Helvetica Light"/>
              </a:rPr>
              <a:t>1</a:t>
            </a:r>
            <a:endParaRPr kumimoji="0" lang="ru-RU" sz="5400" b="1" u="none" strike="noStrike" cap="none" spc="0" normalizeH="0" baseline="0" dirty="0">
              <a:ln>
                <a:noFill/>
              </a:ln>
              <a:effectLst/>
              <a:uFillTx/>
              <a:latin typeface="Montserrat Light" panose="00000400000000000000" pitchFamily="2" charset="-52"/>
              <a:ea typeface="Montserrat" charset="0"/>
              <a:cs typeface="Montserrat" charset="0"/>
              <a:sym typeface="Helvetica Light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6AFC7B2-151F-4D72-94C9-B3BC24D5DB0D}"/>
              </a:ext>
            </a:extLst>
          </p:cNvPr>
          <p:cNvSpPr txBox="1"/>
          <p:nvPr/>
        </p:nvSpPr>
        <p:spPr>
          <a:xfrm>
            <a:off x="7738101" y="2973038"/>
            <a:ext cx="514619" cy="9335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5400" b="1" dirty="0">
                <a:latin typeface="Montserrat Light" panose="00000400000000000000" pitchFamily="2" charset="-52"/>
                <a:ea typeface="Montserrat" charset="0"/>
                <a:cs typeface="Montserrat" charset="0"/>
              </a:rPr>
              <a:t>2</a:t>
            </a:r>
            <a:endParaRPr kumimoji="0" lang="ru-RU" sz="5400" b="1" u="none" strike="noStrike" cap="none" spc="0" normalizeH="0" baseline="0" dirty="0">
              <a:ln>
                <a:noFill/>
              </a:ln>
              <a:effectLst/>
              <a:uFillTx/>
              <a:latin typeface="Montserrat Light" panose="00000400000000000000" pitchFamily="2" charset="-52"/>
              <a:ea typeface="Montserrat" charset="0"/>
              <a:cs typeface="Montserrat" charset="0"/>
              <a:sym typeface="Helvetica Ligh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E6A4D1-E9CD-4B86-82BA-A4CA0587A37C}"/>
              </a:ext>
            </a:extLst>
          </p:cNvPr>
          <p:cNvSpPr txBox="1"/>
          <p:nvPr/>
        </p:nvSpPr>
        <p:spPr>
          <a:xfrm>
            <a:off x="7738101" y="4013465"/>
            <a:ext cx="514619" cy="9335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5400" b="1" dirty="0">
                <a:latin typeface="Montserrat Light" panose="00000400000000000000" pitchFamily="2" charset="-52"/>
                <a:ea typeface="Montserrat" charset="0"/>
                <a:cs typeface="Montserrat" charset="0"/>
              </a:rPr>
              <a:t>3</a:t>
            </a:r>
            <a:endParaRPr kumimoji="0" lang="ru-RU" sz="5400" b="1" u="none" strike="noStrike" cap="none" spc="0" normalizeH="0" baseline="0" dirty="0">
              <a:ln>
                <a:noFill/>
              </a:ln>
              <a:effectLst/>
              <a:uFillTx/>
              <a:latin typeface="Montserrat Light" panose="00000400000000000000" pitchFamily="2" charset="-52"/>
              <a:ea typeface="Montserrat" charset="0"/>
              <a:cs typeface="Montserrat" charset="0"/>
              <a:sym typeface="Helvetica Light"/>
            </a:endParaRP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BFE9920-7FB1-487B-9B0A-E75C46845D89}"/>
              </a:ext>
            </a:extLst>
          </p:cNvPr>
          <p:cNvSpPr txBox="1">
            <a:spLocks/>
          </p:cNvSpPr>
          <p:nvPr/>
        </p:nvSpPr>
        <p:spPr>
          <a:xfrm>
            <a:off x="8216779" y="2535383"/>
            <a:ext cx="3593794" cy="4385688"/>
          </a:xfrm>
          <a:prstGeom prst="rect">
            <a:avLst/>
          </a:prstGeom>
        </p:spPr>
        <p:txBody>
          <a:bodyPr>
            <a:normAutofit/>
          </a:bodyPr>
          <a:lstStyle>
            <a:lvl1pPr marL="31750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500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51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7001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520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502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52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4003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53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 hangingPunct="1">
              <a:buNone/>
            </a:pPr>
            <a:r>
              <a:rPr lang="ru-RU" sz="1400" dirty="0">
                <a:solidFill>
                  <a:schemeClr val="tx1"/>
                </a:solidFill>
                <a:latin typeface="Montserrat Light" panose="00000400000000000000" pitchFamily="2" charset="-52"/>
              </a:rPr>
              <a:t>Является резидентом  ТОР Приамурская </a:t>
            </a:r>
          </a:p>
          <a:p>
            <a:pPr marL="0" indent="0" hangingPunct="1">
              <a:buNone/>
            </a:pPr>
            <a:r>
              <a:rPr lang="ru-RU" sz="1400" dirty="0">
                <a:solidFill>
                  <a:schemeClr val="tx1"/>
                </a:solidFill>
                <a:latin typeface="Montserrat Light" panose="00000400000000000000" pitchFamily="2" charset="-52"/>
              </a:rPr>
              <a:t>Вошел в проект ДМТК (МИНТРАНС) по беспилотной перевозке трансграничных грузов  </a:t>
            </a:r>
          </a:p>
          <a:p>
            <a:pPr marL="0" indent="0" hangingPunct="1">
              <a:buNone/>
            </a:pPr>
            <a:r>
              <a:rPr lang="ru-RU" sz="1400" dirty="0">
                <a:solidFill>
                  <a:schemeClr val="tx1"/>
                </a:solidFill>
                <a:latin typeface="Montserrat Light" panose="00000400000000000000" pitchFamily="2" charset="-52"/>
              </a:rPr>
              <a:t>Обладает потенциалом для развития международного транспортного коридора с</a:t>
            </a:r>
            <a:r>
              <a:rPr lang="en-US" sz="1400" dirty="0">
                <a:solidFill>
                  <a:schemeClr val="tx1"/>
                </a:solidFill>
                <a:latin typeface="Montserrat Light" panose="00000400000000000000" pitchFamily="2" charset="-52"/>
              </a:rPr>
              <a:t> </a:t>
            </a:r>
            <a:r>
              <a:rPr lang="ru-RU" sz="1400" dirty="0">
                <a:solidFill>
                  <a:schemeClr val="tx1"/>
                </a:solidFill>
                <a:latin typeface="Montserrat Light" panose="00000400000000000000" pitchFamily="2" charset="-52"/>
              </a:rPr>
              <a:t>объемом грузооборота свыше 5 миллионов тонн</a:t>
            </a:r>
            <a:endParaRPr lang="en-US" sz="1400" dirty="0">
              <a:solidFill>
                <a:schemeClr val="tx1"/>
              </a:solidFill>
              <a:latin typeface="Montserrat Light" panose="00000400000000000000" pitchFamily="2" charset="-52"/>
            </a:endParaRPr>
          </a:p>
          <a:p>
            <a:pPr hangingPunct="1"/>
            <a:endParaRPr lang="ru-RU" sz="1400" dirty="0">
              <a:solidFill>
                <a:schemeClr val="tx1"/>
              </a:solidFill>
              <a:latin typeface="Montserrat Light" panose="000004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828582907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ubtitle 6">
            <a:extLst>
              <a:ext uri="{FF2B5EF4-FFF2-40B4-BE49-F238E27FC236}">
                <a16:creationId xmlns:a16="http://schemas.microsoft.com/office/drawing/2014/main" id="{751860AD-193A-4C44-BADD-0752EB09A21D}"/>
              </a:ext>
            </a:extLst>
          </p:cNvPr>
          <p:cNvSpPr txBox="1">
            <a:spLocks/>
          </p:cNvSpPr>
          <p:nvPr/>
        </p:nvSpPr>
        <p:spPr>
          <a:xfrm>
            <a:off x="360257" y="383933"/>
            <a:ext cx="10701033" cy="1537080"/>
          </a:xfrm>
          <a:prstGeom prst="rect">
            <a:avLst/>
          </a:prstGeom>
        </p:spPr>
        <p:txBody>
          <a:bodyPr>
            <a:normAutofit/>
          </a:bodyPr>
          <a:lstStyle>
            <a:lvl1pPr marL="31750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500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51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7001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520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502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52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4003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53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 hangingPunct="1">
              <a:buNone/>
            </a:pPr>
            <a:r>
              <a:rPr lang="ru-RU" sz="2800" b="1" dirty="0">
                <a:solidFill>
                  <a:schemeClr val="tx1"/>
                </a:solidFill>
                <a:latin typeface="Montserrat Light" panose="00000400000000000000" pitchFamily="2" charset="-52"/>
              </a:rPr>
              <a:t>ТЛТ КАНИКУРГАН – ТАМОЖЕННЫЙ ТЕРМИНАЛ</a:t>
            </a:r>
          </a:p>
        </p:txBody>
      </p:sp>
      <p:pic>
        <p:nvPicPr>
          <p:cNvPr id="22" name="Picture Placeholder 14">
            <a:extLst>
              <a:ext uri="{FF2B5EF4-FFF2-40B4-BE49-F238E27FC236}">
                <a16:creationId xmlns:a16="http://schemas.microsoft.com/office/drawing/2014/main" id="{DF97F542-939E-49F5-99C4-67757B8E6AD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4031" y="2509078"/>
            <a:ext cx="5400000" cy="3889859"/>
          </a:xfrm>
          <a:prstGeom prst="rect">
            <a:avLst/>
          </a:prstGeom>
        </p:spPr>
      </p:pic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BA8B465A-4962-4899-B277-61905F0C3A66}"/>
              </a:ext>
            </a:extLst>
          </p:cNvPr>
          <p:cNvSpPr txBox="1">
            <a:spLocks/>
          </p:cNvSpPr>
          <p:nvPr/>
        </p:nvSpPr>
        <p:spPr>
          <a:xfrm>
            <a:off x="5886451" y="1828799"/>
            <a:ext cx="4631228" cy="597055"/>
          </a:xfrm>
          <a:prstGeom prst="rect">
            <a:avLst/>
          </a:prstGeom>
        </p:spPr>
        <p:txBody>
          <a:bodyPr>
            <a:normAutofit/>
          </a:bodyPr>
          <a:lstStyle>
            <a:lvl1pPr marL="31750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500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51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7001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520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502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52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4003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53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 hangingPunct="1">
              <a:buNone/>
            </a:pPr>
            <a:r>
              <a:rPr lang="ru-RU" sz="1600" dirty="0">
                <a:solidFill>
                  <a:schemeClr val="tx1"/>
                </a:solidFill>
                <a:latin typeface="Montserrat Light" panose="00000400000000000000" pitchFamily="2" charset="-52"/>
                <a:ea typeface="Segoe UI" panose="020B0502040204020203" pitchFamily="34" charset="0"/>
                <a:cs typeface="Segoe UI" panose="020B0502040204020203" pitchFamily="34" charset="0"/>
              </a:rPr>
              <a:t>Постоянная схема СВХ, завершение работ - декабрь 202</a:t>
            </a:r>
            <a:r>
              <a:rPr lang="en-US" sz="1600" dirty="0">
                <a:solidFill>
                  <a:schemeClr val="tx1"/>
                </a:solidFill>
                <a:latin typeface="Montserrat Light" panose="00000400000000000000" pitchFamily="2" charset="-52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r>
              <a:rPr lang="ru-RU" sz="1600" dirty="0">
                <a:solidFill>
                  <a:schemeClr val="tx1"/>
                </a:solidFill>
                <a:latin typeface="Montserrat Light" panose="00000400000000000000" pitchFamily="2" charset="-52"/>
                <a:ea typeface="Segoe UI" panose="020B0502040204020203" pitchFamily="34" charset="0"/>
                <a:cs typeface="Segoe UI" panose="020B0502040204020203" pitchFamily="34" charset="0"/>
              </a:rPr>
              <a:t>г</a:t>
            </a:r>
          </a:p>
          <a:p>
            <a:pPr hangingPunct="1"/>
            <a:endParaRPr lang="ru-RU" dirty="0">
              <a:solidFill>
                <a:schemeClr val="tx1"/>
              </a:solidFill>
              <a:latin typeface="Montserrat Light" panose="00000400000000000000" pitchFamily="2" charset="-52"/>
              <a:cs typeface="Segoe UI" panose="020B0502040204020203" pitchFamily="34" charset="0"/>
            </a:endParaRPr>
          </a:p>
          <a:p>
            <a:pPr hangingPunct="1"/>
            <a:endParaRPr lang="ru-RU" dirty="0">
              <a:solidFill>
                <a:schemeClr val="tx1"/>
              </a:solidFill>
              <a:latin typeface="Montserrat Light" panose="00000400000000000000" pitchFamily="2" charset="-52"/>
              <a:cs typeface="Segoe UI" panose="020B0502040204020203" pitchFamily="34" charset="0"/>
            </a:endParaRPr>
          </a:p>
        </p:txBody>
      </p:sp>
      <p:sp>
        <p:nvSpPr>
          <p:cNvPr id="24" name="Subtitle 4">
            <a:extLst>
              <a:ext uri="{FF2B5EF4-FFF2-40B4-BE49-F238E27FC236}">
                <a16:creationId xmlns:a16="http://schemas.microsoft.com/office/drawing/2014/main" id="{CF16F290-08D4-4B56-904F-B70D9BB3DDE9}"/>
              </a:ext>
            </a:extLst>
          </p:cNvPr>
          <p:cNvSpPr txBox="1">
            <a:spLocks/>
          </p:cNvSpPr>
          <p:nvPr/>
        </p:nvSpPr>
        <p:spPr>
          <a:xfrm>
            <a:off x="360258" y="383933"/>
            <a:ext cx="7132742" cy="1537080"/>
          </a:xfrm>
          <a:prstGeom prst="rect">
            <a:avLst/>
          </a:prstGeom>
        </p:spPr>
        <p:txBody>
          <a:bodyPr/>
          <a:lstStyle>
            <a:lvl1pPr marL="31750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500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51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7001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520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502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52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4003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53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endParaRPr lang="ru-RU" dirty="0">
              <a:solidFill>
                <a:schemeClr val="tx1"/>
              </a:solidFill>
              <a:latin typeface="Montserrat Light" panose="00000400000000000000" pitchFamily="2" charset="-52"/>
            </a:endParaRPr>
          </a:p>
        </p:txBody>
      </p:sp>
      <p:sp>
        <p:nvSpPr>
          <p:cNvPr id="25" name="Oval 20">
            <a:extLst>
              <a:ext uri="{FF2B5EF4-FFF2-40B4-BE49-F238E27FC236}">
                <a16:creationId xmlns:a16="http://schemas.microsoft.com/office/drawing/2014/main" id="{0C2EB9A3-1F9B-4297-8DA6-7BE5DF177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4114" y="4314820"/>
            <a:ext cx="170245" cy="170655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900" dirty="0">
                <a:latin typeface="Montserrat Light" panose="00000400000000000000" pitchFamily="2" charset="-52"/>
              </a:rPr>
              <a:t>1</a:t>
            </a:r>
          </a:p>
        </p:txBody>
      </p:sp>
      <p:sp>
        <p:nvSpPr>
          <p:cNvPr id="26" name="Oval 20">
            <a:extLst>
              <a:ext uri="{FF2B5EF4-FFF2-40B4-BE49-F238E27FC236}">
                <a16:creationId xmlns:a16="http://schemas.microsoft.com/office/drawing/2014/main" id="{700D3751-5731-408E-9AC8-101380E9A6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56241" y="2972046"/>
            <a:ext cx="170245" cy="170655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900" dirty="0">
                <a:latin typeface="Montserrat Light" panose="00000400000000000000" pitchFamily="2" charset="-52"/>
              </a:rPr>
              <a:t>2</a:t>
            </a:r>
          </a:p>
        </p:txBody>
      </p:sp>
      <p:sp>
        <p:nvSpPr>
          <p:cNvPr id="28" name="Oval 20">
            <a:extLst>
              <a:ext uri="{FF2B5EF4-FFF2-40B4-BE49-F238E27FC236}">
                <a16:creationId xmlns:a16="http://schemas.microsoft.com/office/drawing/2014/main" id="{9A64F881-51F4-4DA8-93D5-9FBD2ED018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68409" y="2929233"/>
            <a:ext cx="170245" cy="170655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900" dirty="0">
                <a:latin typeface="Montserrat Light" panose="00000400000000000000" pitchFamily="2" charset="-52"/>
              </a:rPr>
              <a:t>3</a:t>
            </a:r>
          </a:p>
        </p:txBody>
      </p:sp>
      <p:sp>
        <p:nvSpPr>
          <p:cNvPr id="29" name="Oval 20">
            <a:extLst>
              <a:ext uri="{FF2B5EF4-FFF2-40B4-BE49-F238E27FC236}">
                <a16:creationId xmlns:a16="http://schemas.microsoft.com/office/drawing/2014/main" id="{7412168F-11AF-4576-A0D1-8759791631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20337" y="3464210"/>
            <a:ext cx="170245" cy="170655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900" dirty="0">
                <a:latin typeface="Montserrat Light" panose="00000400000000000000" pitchFamily="2" charset="-52"/>
              </a:rPr>
              <a:t>4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D35052B0-D213-43BF-91B9-98872216F7BB}"/>
              </a:ext>
            </a:extLst>
          </p:cNvPr>
          <p:cNvSpPr/>
          <p:nvPr/>
        </p:nvSpPr>
        <p:spPr>
          <a:xfrm>
            <a:off x="423354" y="938469"/>
            <a:ext cx="5400000" cy="4788551"/>
          </a:xfrm>
          <a:prstGeom prst="rect">
            <a:avLst/>
          </a:prstGeom>
          <a:noFill/>
          <a:ln>
            <a:noFill/>
          </a:ln>
        </p:spPr>
        <p:txBody>
          <a:bodyPr wrap="square" lIns="108000" rIns="108000" rtlCol="0" anchor="ctr" anchorCtr="0">
            <a:noAutofit/>
          </a:bodyPr>
          <a:lstStyle/>
          <a:p>
            <a:pPr marL="85725" algn="l">
              <a:spcAft>
                <a:spcPts val="1200"/>
              </a:spcAft>
            </a:pPr>
            <a:r>
              <a:rPr lang="ru-RU" sz="1600" b="1" dirty="0">
                <a:latin typeface="Montserrat Light" panose="00000400000000000000" pitchFamily="2" charset="-52"/>
                <a:cs typeface="Arial" panose="020B0604020202020204" pitchFamily="34" charset="0"/>
              </a:rPr>
              <a:t>          Территория: </a:t>
            </a:r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общая площадь – 84</a:t>
            </a:r>
            <a:r>
              <a:rPr lang="en-US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тыс. м2</a:t>
            </a:r>
          </a:p>
          <a:p>
            <a:pPr marL="85725" algn="l"/>
            <a:endParaRPr lang="ru-RU" sz="1600" b="1" dirty="0">
              <a:latin typeface="Montserrat Light" panose="00000400000000000000" pitchFamily="2" charset="-52"/>
              <a:cs typeface="Arial" panose="020B0604020202020204" pitchFamily="34" charset="0"/>
            </a:endParaRPr>
          </a:p>
          <a:p>
            <a:pPr marL="85725" algn="l"/>
            <a:r>
              <a:rPr lang="ru-RU" sz="1600" b="1" dirty="0">
                <a:latin typeface="Montserrat Light" panose="00000400000000000000" pitchFamily="2" charset="-52"/>
                <a:cs typeface="Arial" panose="020B0604020202020204" pitchFamily="34" charset="0"/>
              </a:rPr>
              <a:t>   Объекты:</a:t>
            </a:r>
          </a:p>
          <a:p>
            <a:pPr marL="85725" algn="l"/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   Склад СВХ</a:t>
            </a:r>
            <a:r>
              <a:rPr lang="en-US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;</a:t>
            </a:r>
            <a:endParaRPr lang="ru-RU" sz="1600" dirty="0">
              <a:latin typeface="Montserrat Light" panose="00000400000000000000" pitchFamily="2" charset="-52"/>
              <a:cs typeface="Arial" panose="020B0604020202020204" pitchFamily="34" charset="0"/>
            </a:endParaRPr>
          </a:p>
          <a:p>
            <a:pPr marL="85725" algn="l"/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   Здание придорожного сервиса</a:t>
            </a:r>
            <a:r>
              <a:rPr lang="en-US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;</a:t>
            </a:r>
            <a:endParaRPr lang="ru-RU" sz="1600" dirty="0">
              <a:latin typeface="Montserrat Light" panose="00000400000000000000" pitchFamily="2" charset="-52"/>
              <a:cs typeface="Arial" panose="020B0604020202020204" pitchFamily="34" charset="0"/>
            </a:endParaRPr>
          </a:p>
          <a:p>
            <a:pPr marL="85725" algn="l"/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   Парковка в зоне таможенного контроля</a:t>
            </a:r>
            <a:r>
              <a:rPr lang="en-US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;</a:t>
            </a:r>
            <a:endParaRPr lang="ru-RU" sz="1600" dirty="0">
              <a:latin typeface="Montserrat Light" panose="00000400000000000000" pitchFamily="2" charset="-52"/>
              <a:cs typeface="Arial" panose="020B0604020202020204" pitchFamily="34" charset="0"/>
            </a:endParaRPr>
          </a:p>
          <a:p>
            <a:pPr marL="85725" algn="l"/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   Коммунальная инфраструктура</a:t>
            </a:r>
            <a:r>
              <a:rPr lang="en-US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;</a:t>
            </a:r>
            <a:endParaRPr lang="ru-RU" sz="1600" dirty="0">
              <a:latin typeface="Montserrat Light" panose="00000400000000000000" pitchFamily="2" charset="-52"/>
              <a:cs typeface="Arial" panose="020B0604020202020204" pitchFamily="34" charset="0"/>
            </a:endParaRPr>
          </a:p>
          <a:p>
            <a:pPr marL="85725" algn="l"/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   Досмотровая техника для любого вида груза.</a:t>
            </a:r>
          </a:p>
          <a:p>
            <a:pPr marL="85725" algn="l"/>
            <a:endParaRPr lang="ru-RU" sz="1600" b="1" dirty="0">
              <a:latin typeface="Montserrat Light" panose="00000400000000000000" pitchFamily="2" charset="-52"/>
              <a:ea typeface="Segoe UI" panose="020B0502040204020203" pitchFamily="34" charset="0"/>
              <a:cs typeface="Arial" panose="020B0604020202020204" pitchFamily="34" charset="0"/>
            </a:endParaRPr>
          </a:p>
          <a:p>
            <a:pPr marL="85725" algn="l"/>
            <a:r>
              <a:rPr lang="ru-RU" sz="1600" b="1" dirty="0">
                <a:latin typeface="Montserrat Light" panose="00000400000000000000" pitchFamily="2" charset="-52"/>
                <a:ea typeface="Segoe UI" panose="020B0502040204020203" pitchFamily="34" charset="0"/>
                <a:cs typeface="Arial" panose="020B0604020202020204" pitchFamily="34" charset="0"/>
              </a:rPr>
              <a:t>400 машин в сутки</a:t>
            </a:r>
            <a:endParaRPr lang="ru-RU" sz="1600" dirty="0">
              <a:latin typeface="Montserrat Light" panose="00000400000000000000" pitchFamily="2" charset="-52"/>
              <a:ea typeface="Segoe UI" panose="020B0502040204020203" pitchFamily="34" charset="0"/>
              <a:cs typeface="Arial" panose="020B0604020202020204" pitchFamily="34" charset="0"/>
            </a:endParaRPr>
          </a:p>
          <a:p>
            <a:pPr marL="85725" algn="l"/>
            <a:r>
              <a:rPr lang="ru-RU" sz="1600" dirty="0">
                <a:latin typeface="Montserrat Light" panose="00000400000000000000" pitchFamily="2" charset="-52"/>
                <a:ea typeface="Segoe UI" panose="020B0502040204020203" pitchFamily="34" charset="0"/>
                <a:cs typeface="Arial" panose="020B0604020202020204" pitchFamily="34" charset="0"/>
              </a:rPr>
              <a:t>пропускная способность</a:t>
            </a:r>
            <a:endParaRPr lang="ru-RU" sz="1600" dirty="0">
              <a:latin typeface="Montserrat Light" panose="00000400000000000000" pitchFamily="2" charset="-52"/>
              <a:cs typeface="Arial" panose="020B0604020202020204" pitchFamily="34" charset="0"/>
            </a:endParaRPr>
          </a:p>
          <a:p>
            <a:pPr marL="85725" algn="l"/>
            <a:endParaRPr lang="ru-RU" sz="1600" dirty="0">
              <a:latin typeface="Montserrat Light" panose="00000400000000000000" pitchFamily="2" charset="-52"/>
            </a:endParaRPr>
          </a:p>
          <a:p>
            <a:pPr marL="85725" algn="l"/>
            <a:r>
              <a:rPr lang="ru-RU" sz="1600" b="1" dirty="0">
                <a:latin typeface="Montserrat Light" panose="00000400000000000000" pitchFamily="2" charset="-52"/>
                <a:ea typeface="Segoe UI" panose="020B0502040204020203" pitchFamily="34" charset="0"/>
                <a:cs typeface="Arial" panose="020B0604020202020204" pitchFamily="34" charset="0"/>
              </a:rPr>
              <a:t>70 рабочих мест</a:t>
            </a:r>
            <a:endParaRPr lang="ru-RU" sz="1600" b="1" dirty="0">
              <a:latin typeface="Montserrat Light" panose="00000400000000000000" pitchFamily="2" charset="-52"/>
              <a:cs typeface="Arial" panose="020B0604020202020204" pitchFamily="34" charset="0"/>
            </a:endParaRPr>
          </a:p>
          <a:p>
            <a:pPr marL="85725" algn="l"/>
            <a:r>
              <a:rPr lang="ru-RU" sz="1600" dirty="0">
                <a:latin typeface="Montserrat Light" panose="00000400000000000000" pitchFamily="2" charset="-52"/>
                <a:ea typeface="Segoe UI" panose="020B0502040204020203" pitchFamily="34" charset="0"/>
                <a:cs typeface="Arial" panose="020B0604020202020204" pitchFamily="34" charset="0"/>
              </a:rPr>
              <a:t>персонал СВХ</a:t>
            </a:r>
          </a:p>
        </p:txBody>
      </p:sp>
      <p:sp>
        <p:nvSpPr>
          <p:cNvPr id="31" name="Oval 20">
            <a:extLst>
              <a:ext uri="{FF2B5EF4-FFF2-40B4-BE49-F238E27FC236}">
                <a16:creationId xmlns:a16="http://schemas.microsoft.com/office/drawing/2014/main" id="{F607AC74-FF56-4B71-8B18-D4A5AD3461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114" y="2495535"/>
            <a:ext cx="176904" cy="170655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1</a:t>
            </a: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8601518B-C6A9-4F16-9CCC-1CF59493F2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114" y="2720579"/>
            <a:ext cx="176904" cy="170655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2</a:t>
            </a:r>
          </a:p>
        </p:txBody>
      </p:sp>
      <p:sp>
        <p:nvSpPr>
          <p:cNvPr id="33" name="Oval 20">
            <a:extLst>
              <a:ext uri="{FF2B5EF4-FFF2-40B4-BE49-F238E27FC236}">
                <a16:creationId xmlns:a16="http://schemas.microsoft.com/office/drawing/2014/main" id="{2A0D4AD0-51E6-423C-9683-0344EE35AA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114" y="2962257"/>
            <a:ext cx="176904" cy="170655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3</a:t>
            </a:r>
          </a:p>
        </p:txBody>
      </p:sp>
      <p:sp>
        <p:nvSpPr>
          <p:cNvPr id="34" name="Oval 20">
            <a:extLst>
              <a:ext uri="{FF2B5EF4-FFF2-40B4-BE49-F238E27FC236}">
                <a16:creationId xmlns:a16="http://schemas.microsoft.com/office/drawing/2014/main" id="{354A0BF7-A756-499F-B79B-CA5A43C2AB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114" y="3211449"/>
            <a:ext cx="176904" cy="170655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4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63B8C3C-177A-4270-B7BE-BB9E31B908E8}"/>
              </a:ext>
            </a:extLst>
          </p:cNvPr>
          <p:cNvSpPr txBox="1"/>
          <p:nvPr/>
        </p:nvSpPr>
        <p:spPr>
          <a:xfrm>
            <a:off x="1792390" y="5904601"/>
            <a:ext cx="578552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600" dirty="0">
                <a:latin typeface="Montserrat Light" panose="00000400000000000000" pitchFamily="2" charset="-52"/>
                <a:ea typeface="Panton" charset="0"/>
                <a:cs typeface="Panton" charset="0"/>
              </a:rPr>
              <a:t>Услуги СВХ, перегрузка, паркинг,</a:t>
            </a:r>
          </a:p>
          <a:p>
            <a:pPr algn="l"/>
            <a:r>
              <a:rPr lang="ru-RU" sz="1600" dirty="0">
                <a:latin typeface="Montserrat Light" panose="00000400000000000000" pitchFamily="2" charset="-52"/>
                <a:ea typeface="Panton" charset="0"/>
                <a:cs typeface="Panton" charset="0"/>
              </a:rPr>
              <a:t>сдача в аренду, декларирование</a:t>
            </a:r>
          </a:p>
        </p:txBody>
      </p:sp>
      <p:pic>
        <p:nvPicPr>
          <p:cNvPr id="41" name="Picture Placeholder 25">
            <a:extLst>
              <a:ext uri="{FF2B5EF4-FFF2-40B4-BE49-F238E27FC236}">
                <a16:creationId xmlns:a16="http://schemas.microsoft.com/office/drawing/2014/main" id="{4E1F6A88-CD58-4A5E-A322-F5B441F1B98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710120" y="5549440"/>
            <a:ext cx="1082270" cy="1082270"/>
          </a:xfrm>
          <a:prstGeom prst="rect">
            <a:avLst/>
          </a:prstGeom>
        </p:spPr>
      </p:pic>
      <p:pic>
        <p:nvPicPr>
          <p:cNvPr id="44" name="Picture 8">
            <a:extLst>
              <a:ext uri="{FF2B5EF4-FFF2-40B4-BE49-F238E27FC236}">
                <a16:creationId xmlns:a16="http://schemas.microsoft.com/office/drawing/2014/main" id="{9091AF15-890F-42FF-BD1A-FD9FA968531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579" y="1300974"/>
            <a:ext cx="581131" cy="600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89645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5299BD93-B32B-4E4E-BB2C-2FB6D7F941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6" progId="TCLayout.ActiveDocument.1">
                  <p:embed/>
                </p:oleObj>
              </mc:Choice>
              <mc:Fallback>
                <p:oleObj name="Слайд think-cell" r:id="rId3" imgW="425" imgH="42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5299BD93-B32B-4E4E-BB2C-2FB6D7F94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F40FB8E-261F-416A-9870-2ABB79088ED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6815" y="2774791"/>
            <a:ext cx="5232262" cy="2943147"/>
          </a:xfrm>
          <a:prstGeom prst="rect">
            <a:avLst/>
          </a:prstGeom>
        </p:spPr>
      </p:pic>
      <p:sp>
        <p:nvSpPr>
          <p:cNvPr id="37" name="Subtitle 6">
            <a:extLst>
              <a:ext uri="{FF2B5EF4-FFF2-40B4-BE49-F238E27FC236}">
                <a16:creationId xmlns:a16="http://schemas.microsoft.com/office/drawing/2014/main" id="{751860AD-193A-4C44-BADD-0752EB09A21D}"/>
              </a:ext>
            </a:extLst>
          </p:cNvPr>
          <p:cNvSpPr txBox="1">
            <a:spLocks/>
          </p:cNvSpPr>
          <p:nvPr/>
        </p:nvSpPr>
        <p:spPr>
          <a:xfrm>
            <a:off x="360257" y="383933"/>
            <a:ext cx="10701033" cy="1537080"/>
          </a:xfrm>
          <a:prstGeom prst="rect">
            <a:avLst/>
          </a:prstGeom>
        </p:spPr>
        <p:txBody>
          <a:bodyPr>
            <a:normAutofit/>
          </a:bodyPr>
          <a:lstStyle>
            <a:lvl1pPr marL="31750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500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51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7001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520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502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52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4003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53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 hangingPunct="1">
              <a:buNone/>
            </a:pPr>
            <a:r>
              <a:rPr lang="ru-RU" sz="2800" b="1" dirty="0">
                <a:solidFill>
                  <a:schemeClr val="tx1"/>
                </a:solidFill>
                <a:latin typeface="Montserrat Light" panose="00000400000000000000" pitchFamily="2" charset="-52"/>
              </a:rPr>
              <a:t>ТЛТ КАНИКУРГАН – ГРУЗОВОЙ КОМПЛЕКС </a:t>
            </a:r>
          </a:p>
        </p:txBody>
      </p:sp>
      <p:sp>
        <p:nvSpPr>
          <p:cNvPr id="24" name="Subtitle 4">
            <a:extLst>
              <a:ext uri="{FF2B5EF4-FFF2-40B4-BE49-F238E27FC236}">
                <a16:creationId xmlns:a16="http://schemas.microsoft.com/office/drawing/2014/main" id="{CF16F290-08D4-4B56-904F-B70D9BB3DDE9}"/>
              </a:ext>
            </a:extLst>
          </p:cNvPr>
          <p:cNvSpPr txBox="1">
            <a:spLocks/>
          </p:cNvSpPr>
          <p:nvPr/>
        </p:nvSpPr>
        <p:spPr>
          <a:xfrm>
            <a:off x="360258" y="383933"/>
            <a:ext cx="7132742" cy="1537080"/>
          </a:xfrm>
          <a:prstGeom prst="rect">
            <a:avLst/>
          </a:prstGeom>
        </p:spPr>
        <p:txBody>
          <a:bodyPr/>
          <a:lstStyle>
            <a:lvl1pPr marL="31750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500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51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7001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520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502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52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4003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53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hangingPunct="1"/>
            <a:endParaRPr lang="ru-RU" dirty="0">
              <a:solidFill>
                <a:schemeClr val="tx1"/>
              </a:solidFill>
              <a:latin typeface="Montserrat Light" panose="00000400000000000000" pitchFamily="2" charset="-52"/>
            </a:endParaRP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46ED0D10-EB86-496E-BD21-76AA2D2094AD}"/>
              </a:ext>
            </a:extLst>
          </p:cNvPr>
          <p:cNvSpPr txBox="1">
            <a:spLocks/>
          </p:cNvSpPr>
          <p:nvPr/>
        </p:nvSpPr>
        <p:spPr>
          <a:xfrm>
            <a:off x="5933381" y="1767947"/>
            <a:ext cx="4686300" cy="858193"/>
          </a:xfrm>
          <a:prstGeom prst="rect">
            <a:avLst/>
          </a:prstGeom>
        </p:spPr>
        <p:txBody>
          <a:bodyPr/>
          <a:lstStyle>
            <a:lvl1pPr marL="31750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63500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95251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127001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587520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905024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2222528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2540032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857536" marR="0" indent="-317504" algn="l" defTabSz="412756" rtl="0" latinLnBrk="0">
              <a:lnSpc>
                <a:spcPct val="100000"/>
              </a:lnSpc>
              <a:spcBef>
                <a:spcPts val="2951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2600" b="0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0" indent="0" hangingPunct="1">
              <a:buNone/>
            </a:pPr>
            <a:r>
              <a:rPr lang="ru-RU" sz="1600" dirty="0">
                <a:solidFill>
                  <a:schemeClr val="tx1"/>
                </a:solidFill>
                <a:latin typeface="Montserrat Light" panose="00000400000000000000" pitchFamily="2" charset="-52"/>
                <a:ea typeface="Segoe UI" panose="020B0502040204020203" pitchFamily="34" charset="0"/>
                <a:cs typeface="Segoe UI" panose="020B0502040204020203" pitchFamily="34" charset="0"/>
              </a:rPr>
              <a:t>Грузовой комплекс, завершение работ - апрель 202</a:t>
            </a:r>
            <a:r>
              <a:rPr lang="en-US" sz="1600" dirty="0">
                <a:solidFill>
                  <a:schemeClr val="tx1"/>
                </a:solidFill>
                <a:latin typeface="Montserrat Light" panose="00000400000000000000" pitchFamily="2" charset="-52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r>
              <a:rPr lang="ru-RU" sz="1600" dirty="0">
                <a:solidFill>
                  <a:schemeClr val="tx1"/>
                </a:solidFill>
                <a:latin typeface="Montserrat Light" panose="00000400000000000000" pitchFamily="2" charset="-52"/>
                <a:ea typeface="Segoe UI" panose="020B0502040204020203" pitchFamily="34" charset="0"/>
                <a:cs typeface="Segoe UI" panose="020B0502040204020203" pitchFamily="34" charset="0"/>
              </a:rPr>
              <a:t>г</a:t>
            </a:r>
            <a:endParaRPr lang="ru-RU" dirty="0">
              <a:solidFill>
                <a:schemeClr val="tx1"/>
              </a:solidFill>
              <a:latin typeface="Montserrat Light" panose="00000400000000000000" pitchFamily="2" charset="-52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51476EB-C671-4230-82FF-057D8A29C674}"/>
              </a:ext>
            </a:extLst>
          </p:cNvPr>
          <p:cNvSpPr txBox="1"/>
          <p:nvPr/>
        </p:nvSpPr>
        <p:spPr>
          <a:xfrm>
            <a:off x="1673158" y="5904601"/>
            <a:ext cx="590475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600" dirty="0">
                <a:latin typeface="Montserrat Light" panose="00000400000000000000" pitchFamily="2" charset="-52"/>
                <a:ea typeface="Panton" charset="0"/>
                <a:cs typeface="Panton" charset="0"/>
              </a:rPr>
              <a:t>Перегрузка, паркинг, продажа топлива, </a:t>
            </a:r>
          </a:p>
          <a:p>
            <a:pPr algn="l"/>
            <a:r>
              <a:rPr lang="ru-RU" sz="1600" dirty="0">
                <a:latin typeface="Montserrat Light" panose="00000400000000000000" pitchFamily="2" charset="-52"/>
                <a:ea typeface="Panton" charset="0"/>
                <a:cs typeface="Panton" charset="0"/>
              </a:rPr>
              <a:t>складские услуги, сдача в аренду </a:t>
            </a:r>
          </a:p>
        </p:txBody>
      </p:sp>
      <p:pic>
        <p:nvPicPr>
          <p:cNvPr id="21" name="Picture Placeholder 25">
            <a:extLst>
              <a:ext uri="{FF2B5EF4-FFF2-40B4-BE49-F238E27FC236}">
                <a16:creationId xmlns:a16="http://schemas.microsoft.com/office/drawing/2014/main" id="{F67AE7D2-CC09-4413-A4F8-E552E24AC4C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42018" y="5584643"/>
            <a:ext cx="1082270" cy="1082270"/>
          </a:xfrm>
          <a:prstGeom prst="rect">
            <a:avLst/>
          </a:prstGeom>
        </p:spPr>
      </p:pic>
      <p:sp>
        <p:nvSpPr>
          <p:cNvPr id="38" name="Oval 20">
            <a:extLst>
              <a:ext uri="{FF2B5EF4-FFF2-40B4-BE49-F238E27FC236}">
                <a16:creationId xmlns:a16="http://schemas.microsoft.com/office/drawing/2014/main" id="{B1D3A322-7651-4624-80BF-0F1964BB95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4233" y="2915075"/>
            <a:ext cx="170245" cy="170655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1</a:t>
            </a:r>
          </a:p>
        </p:txBody>
      </p:sp>
      <p:sp>
        <p:nvSpPr>
          <p:cNvPr id="39" name="Oval 20">
            <a:extLst>
              <a:ext uri="{FF2B5EF4-FFF2-40B4-BE49-F238E27FC236}">
                <a16:creationId xmlns:a16="http://schemas.microsoft.com/office/drawing/2014/main" id="{18056D79-EF3B-4B0A-BDFC-C3671589CB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6579" y="3357517"/>
            <a:ext cx="170245" cy="170655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2</a:t>
            </a:r>
          </a:p>
        </p:txBody>
      </p:sp>
      <p:sp>
        <p:nvSpPr>
          <p:cNvPr id="42" name="Oval 20">
            <a:extLst>
              <a:ext uri="{FF2B5EF4-FFF2-40B4-BE49-F238E27FC236}">
                <a16:creationId xmlns:a16="http://schemas.microsoft.com/office/drawing/2014/main" id="{34B99BF8-A550-4040-97D2-335FFCD2A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06286" y="3362526"/>
            <a:ext cx="170245" cy="170655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3</a:t>
            </a:r>
          </a:p>
        </p:txBody>
      </p:sp>
      <p:sp>
        <p:nvSpPr>
          <p:cNvPr id="43" name="Oval 20">
            <a:extLst>
              <a:ext uri="{FF2B5EF4-FFF2-40B4-BE49-F238E27FC236}">
                <a16:creationId xmlns:a16="http://schemas.microsoft.com/office/drawing/2014/main" id="{377146B7-AE7B-4120-8917-CB976D9DD3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8575" y="2863742"/>
            <a:ext cx="170245" cy="170655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5</a:t>
            </a:r>
          </a:p>
        </p:txBody>
      </p:sp>
      <p:sp>
        <p:nvSpPr>
          <p:cNvPr id="44" name="Oval 20">
            <a:extLst>
              <a:ext uri="{FF2B5EF4-FFF2-40B4-BE49-F238E27FC236}">
                <a16:creationId xmlns:a16="http://schemas.microsoft.com/office/drawing/2014/main" id="{B4085D17-1160-444F-A849-32EF61CD2D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4589" y="3000402"/>
            <a:ext cx="170245" cy="170655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4</a:t>
            </a:r>
          </a:p>
        </p:txBody>
      </p:sp>
      <p:sp>
        <p:nvSpPr>
          <p:cNvPr id="45" name="Oval 20">
            <a:extLst>
              <a:ext uri="{FF2B5EF4-FFF2-40B4-BE49-F238E27FC236}">
                <a16:creationId xmlns:a16="http://schemas.microsoft.com/office/drawing/2014/main" id="{C717DBC6-606B-4D1A-8493-43F9C3C673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28066" y="3206192"/>
            <a:ext cx="170245" cy="170655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4</a:t>
            </a:r>
          </a:p>
        </p:txBody>
      </p:sp>
      <p:sp>
        <p:nvSpPr>
          <p:cNvPr id="46" name="Oval 20">
            <a:extLst>
              <a:ext uri="{FF2B5EF4-FFF2-40B4-BE49-F238E27FC236}">
                <a16:creationId xmlns:a16="http://schemas.microsoft.com/office/drawing/2014/main" id="{E22AF29B-F3D6-4B9D-936E-165C19AF25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5564" y="4787043"/>
            <a:ext cx="170245" cy="170655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6</a:t>
            </a:r>
          </a:p>
        </p:txBody>
      </p:sp>
      <p:sp>
        <p:nvSpPr>
          <p:cNvPr id="47" name="Oval 20">
            <a:extLst>
              <a:ext uri="{FF2B5EF4-FFF2-40B4-BE49-F238E27FC236}">
                <a16:creationId xmlns:a16="http://schemas.microsoft.com/office/drawing/2014/main" id="{AC3B7D1B-5CDC-4392-ABED-C18951111D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74834" y="4137453"/>
            <a:ext cx="170245" cy="170655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900" dirty="0">
                <a:latin typeface="Montserrat Light" panose="00000400000000000000" pitchFamily="2" charset="-52"/>
              </a:rPr>
              <a:t>7</a:t>
            </a:r>
            <a:endParaRPr lang="en-US" sz="900" dirty="0">
              <a:latin typeface="Montserrat Light" panose="00000400000000000000" pitchFamily="2" charset="-52"/>
            </a:endParaRPr>
          </a:p>
        </p:txBody>
      </p:sp>
      <p:sp>
        <p:nvSpPr>
          <p:cNvPr id="48" name="Oval 20">
            <a:extLst>
              <a:ext uri="{FF2B5EF4-FFF2-40B4-BE49-F238E27FC236}">
                <a16:creationId xmlns:a16="http://schemas.microsoft.com/office/drawing/2014/main" id="{77E3AF9F-2F42-4F88-9D53-C406FC14CD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768" y="2457771"/>
            <a:ext cx="187359" cy="174998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1</a:t>
            </a:r>
          </a:p>
        </p:txBody>
      </p:sp>
      <p:sp>
        <p:nvSpPr>
          <p:cNvPr id="49" name="Oval 20">
            <a:extLst>
              <a:ext uri="{FF2B5EF4-FFF2-40B4-BE49-F238E27FC236}">
                <a16:creationId xmlns:a16="http://schemas.microsoft.com/office/drawing/2014/main" id="{DE66EA34-F123-4EE7-8FD6-23EEB9F924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9579" y="2939059"/>
            <a:ext cx="187359" cy="174998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2</a:t>
            </a:r>
          </a:p>
        </p:txBody>
      </p:sp>
      <p:sp>
        <p:nvSpPr>
          <p:cNvPr id="50" name="Oval 20">
            <a:extLst>
              <a:ext uri="{FF2B5EF4-FFF2-40B4-BE49-F238E27FC236}">
                <a16:creationId xmlns:a16="http://schemas.microsoft.com/office/drawing/2014/main" id="{B764E01A-D1D2-40E8-BEF2-71D74EA0F9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8339" y="3182519"/>
            <a:ext cx="187359" cy="174998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3</a:t>
            </a:r>
          </a:p>
        </p:txBody>
      </p:sp>
      <p:sp>
        <p:nvSpPr>
          <p:cNvPr id="51" name="Oval 20">
            <a:extLst>
              <a:ext uri="{FF2B5EF4-FFF2-40B4-BE49-F238E27FC236}">
                <a16:creationId xmlns:a16="http://schemas.microsoft.com/office/drawing/2014/main" id="{0CF469D3-6F8A-42FA-B942-87B1762D79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8339" y="3434292"/>
            <a:ext cx="187359" cy="174998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4</a:t>
            </a:r>
          </a:p>
        </p:txBody>
      </p:sp>
      <p:sp>
        <p:nvSpPr>
          <p:cNvPr id="52" name="Oval 20">
            <a:extLst>
              <a:ext uri="{FF2B5EF4-FFF2-40B4-BE49-F238E27FC236}">
                <a16:creationId xmlns:a16="http://schemas.microsoft.com/office/drawing/2014/main" id="{9FD41C2E-865D-4684-BE82-DB269EF042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8339" y="3665286"/>
            <a:ext cx="187359" cy="174998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5</a:t>
            </a:r>
          </a:p>
        </p:txBody>
      </p:sp>
      <p:sp>
        <p:nvSpPr>
          <p:cNvPr id="53" name="Oval 20">
            <a:extLst>
              <a:ext uri="{FF2B5EF4-FFF2-40B4-BE49-F238E27FC236}">
                <a16:creationId xmlns:a16="http://schemas.microsoft.com/office/drawing/2014/main" id="{49002593-A33F-437A-A71B-77C6EAC0C5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8339" y="3916846"/>
            <a:ext cx="187359" cy="174998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900" dirty="0">
                <a:latin typeface="Montserrat Light" panose="00000400000000000000" pitchFamily="2" charset="-52"/>
              </a:rPr>
              <a:t>6</a:t>
            </a:r>
          </a:p>
        </p:txBody>
      </p:sp>
      <p:sp>
        <p:nvSpPr>
          <p:cNvPr id="54" name="Oval 20">
            <a:extLst>
              <a:ext uri="{FF2B5EF4-FFF2-40B4-BE49-F238E27FC236}">
                <a16:creationId xmlns:a16="http://schemas.microsoft.com/office/drawing/2014/main" id="{7552DE66-E544-41FE-8E86-5838780547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8339" y="4146610"/>
            <a:ext cx="187359" cy="174998"/>
          </a:xfrm>
          <a:prstGeom prst="ellipse">
            <a:avLst/>
          </a:prstGeom>
          <a:solidFill>
            <a:srgbClr val="5AC6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900" dirty="0">
                <a:latin typeface="Montserrat Light" panose="00000400000000000000" pitchFamily="2" charset="-52"/>
              </a:rPr>
              <a:t>7</a:t>
            </a:r>
            <a:endParaRPr lang="en-US" sz="900" dirty="0">
              <a:latin typeface="Montserrat Light" panose="00000400000000000000" pitchFamily="2" charset="-52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9F2B58F5-9272-4D7F-BC28-29B7918EBE3D}"/>
              </a:ext>
            </a:extLst>
          </p:cNvPr>
          <p:cNvSpPr/>
          <p:nvPr/>
        </p:nvSpPr>
        <p:spPr>
          <a:xfrm>
            <a:off x="592119" y="1069815"/>
            <a:ext cx="5262767" cy="5365939"/>
          </a:xfrm>
          <a:prstGeom prst="rect">
            <a:avLst/>
          </a:prstGeom>
          <a:noFill/>
          <a:ln>
            <a:noFill/>
          </a:ln>
        </p:spPr>
        <p:txBody>
          <a:bodyPr wrap="square" lIns="108000" rIns="108000" rtlCol="0" anchor="ctr" anchorCtr="0">
            <a:noAutofit/>
          </a:bodyPr>
          <a:lstStyle/>
          <a:p>
            <a:pPr marL="85725" algn="l">
              <a:spcAft>
                <a:spcPts val="1200"/>
              </a:spcAft>
            </a:pPr>
            <a:r>
              <a:rPr lang="ru-RU" sz="1600" b="1" dirty="0">
                <a:latin typeface="Montserrat Light" panose="00000400000000000000" pitchFamily="2" charset="-52"/>
                <a:cs typeface="Arial" panose="020B0604020202020204" pitchFamily="34" charset="0"/>
              </a:rPr>
              <a:t>      </a:t>
            </a:r>
          </a:p>
          <a:p>
            <a:pPr marL="85725" algn="l">
              <a:spcAft>
                <a:spcPts val="1200"/>
              </a:spcAft>
            </a:pPr>
            <a:r>
              <a:rPr lang="ru-RU" sz="1600" b="1" dirty="0">
                <a:latin typeface="Montserrat Light" panose="00000400000000000000" pitchFamily="2" charset="-52"/>
                <a:cs typeface="Arial" panose="020B0604020202020204" pitchFamily="34" charset="0"/>
              </a:rPr>
              <a:t>       Территория: </a:t>
            </a:r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общая площадь – </a:t>
            </a:r>
            <a:r>
              <a:rPr lang="en-US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1</a:t>
            </a:r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03</a:t>
            </a:r>
            <a:r>
              <a:rPr lang="en-US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тыс. м2</a:t>
            </a:r>
          </a:p>
          <a:p>
            <a:pPr marL="85725" algn="l"/>
            <a:endParaRPr lang="ru-RU" sz="1600" b="1" dirty="0">
              <a:latin typeface="Montserrat Light" panose="00000400000000000000" pitchFamily="2" charset="-52"/>
              <a:cs typeface="Arial" panose="020B0604020202020204" pitchFamily="34" charset="0"/>
            </a:endParaRPr>
          </a:p>
          <a:p>
            <a:pPr marL="85725" algn="l"/>
            <a:r>
              <a:rPr lang="ru-RU" sz="1600" b="1" dirty="0">
                <a:latin typeface="Montserrat Light" panose="00000400000000000000" pitchFamily="2" charset="-52"/>
                <a:cs typeface="Arial" panose="020B0604020202020204" pitchFamily="34" charset="0"/>
              </a:rPr>
              <a:t>Объекты:</a:t>
            </a:r>
          </a:p>
          <a:p>
            <a:pPr marL="85725" algn="l"/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Контейнерный терминал – 200 контейнеров (емкость хранения)</a:t>
            </a:r>
            <a:r>
              <a:rPr lang="en-US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;</a:t>
            </a:r>
            <a:endParaRPr lang="ru-RU" sz="1600" dirty="0">
              <a:latin typeface="Montserrat Light" panose="00000400000000000000" pitchFamily="2" charset="-52"/>
              <a:cs typeface="Arial" panose="020B0604020202020204" pitchFamily="34" charset="0"/>
            </a:endParaRPr>
          </a:p>
          <a:p>
            <a:pPr marL="85725" algn="l"/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Административно-бытовой комплекс</a:t>
            </a:r>
            <a:r>
              <a:rPr lang="en-US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;</a:t>
            </a:r>
            <a:endParaRPr lang="ru-RU" sz="1600" dirty="0">
              <a:latin typeface="Montserrat Light" panose="00000400000000000000" pitchFamily="2" charset="-52"/>
              <a:cs typeface="Arial" panose="020B0604020202020204" pitchFamily="34" charset="0"/>
            </a:endParaRPr>
          </a:p>
          <a:p>
            <a:pPr marL="85725" algn="l"/>
            <a:r>
              <a:rPr lang="ru-RU" sz="1600" dirty="0" err="1">
                <a:latin typeface="Montserrat Light" panose="00000400000000000000" pitchFamily="2" charset="-52"/>
                <a:cs typeface="Arial" panose="020B0604020202020204" pitchFamily="34" charset="0"/>
              </a:rPr>
              <a:t>Мультитемпературный</a:t>
            </a:r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 склад</a:t>
            </a:r>
            <a:r>
              <a:rPr lang="en-US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;</a:t>
            </a:r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 </a:t>
            </a:r>
          </a:p>
          <a:p>
            <a:pPr marL="85725" algn="l"/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Кросс-доки</a:t>
            </a:r>
            <a:r>
              <a:rPr lang="en-US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;</a:t>
            </a:r>
            <a:endParaRPr lang="ru-RU" sz="1600" dirty="0">
              <a:latin typeface="Montserrat Light" panose="00000400000000000000" pitchFamily="2" charset="-52"/>
              <a:cs typeface="Arial" panose="020B0604020202020204" pitchFamily="34" charset="0"/>
            </a:endParaRPr>
          </a:p>
          <a:p>
            <a:pPr marL="85725" algn="l"/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Площадка хранения опасных грузов</a:t>
            </a:r>
            <a:r>
              <a:rPr lang="en-US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;</a:t>
            </a:r>
            <a:endParaRPr lang="ru-RU" sz="1600" dirty="0">
              <a:latin typeface="Montserrat Light" panose="00000400000000000000" pitchFamily="2" charset="-52"/>
              <a:cs typeface="Arial" panose="020B0604020202020204" pitchFamily="34" charset="0"/>
            </a:endParaRPr>
          </a:p>
          <a:p>
            <a:pPr marL="85725" algn="l"/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АЗС</a:t>
            </a:r>
            <a:r>
              <a:rPr lang="en-US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;</a:t>
            </a:r>
            <a:endParaRPr lang="ru-RU" sz="1600" dirty="0">
              <a:highlight>
                <a:srgbClr val="FFFF00"/>
              </a:highlight>
              <a:latin typeface="Montserrat Light" panose="00000400000000000000" pitchFamily="2" charset="-52"/>
              <a:cs typeface="Arial" panose="020B0604020202020204" pitchFamily="34" charset="0"/>
            </a:endParaRPr>
          </a:p>
          <a:p>
            <a:pPr marL="85725" algn="l"/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Система электронной очереди.</a:t>
            </a:r>
          </a:p>
          <a:p>
            <a:pPr marL="85725" algn="l"/>
            <a:endParaRPr lang="ru-RU" sz="1600" dirty="0">
              <a:latin typeface="Montserrat Light" panose="00000400000000000000" pitchFamily="2" charset="-52"/>
              <a:cs typeface="Arial" panose="020B0604020202020204" pitchFamily="34" charset="0"/>
            </a:endParaRPr>
          </a:p>
          <a:p>
            <a:pPr marL="85725" algn="l"/>
            <a:r>
              <a:rPr lang="ru-RU" sz="1600" dirty="0">
                <a:latin typeface="Montserrat Light" panose="00000400000000000000" pitchFamily="2" charset="-52"/>
                <a:cs typeface="Arial" panose="020B0604020202020204" pitchFamily="34" charset="0"/>
              </a:rPr>
              <a:t>Возможность обработки любых типов грузов</a:t>
            </a:r>
          </a:p>
          <a:p>
            <a:pPr marL="85725" algn="l"/>
            <a:endParaRPr lang="ru-RU" sz="1600" dirty="0">
              <a:latin typeface="Montserrat Light" panose="00000400000000000000" pitchFamily="2" charset="-52"/>
            </a:endParaRPr>
          </a:p>
          <a:p>
            <a:pPr marL="85725" algn="l"/>
            <a:r>
              <a:rPr lang="ru-RU" sz="1600" b="1" dirty="0">
                <a:latin typeface="Montserrat Light" panose="00000400000000000000" pitchFamily="2" charset="-52"/>
                <a:ea typeface="Segoe UI" panose="020B0502040204020203" pitchFamily="34" charset="0"/>
                <a:cs typeface="Arial" panose="020B0604020202020204" pitchFamily="34" charset="0"/>
              </a:rPr>
              <a:t>130 рабочих мест</a:t>
            </a:r>
            <a:endParaRPr lang="ru-RU" sz="1600" b="1" dirty="0">
              <a:latin typeface="Montserrat Light" panose="00000400000000000000" pitchFamily="2" charset="-52"/>
              <a:cs typeface="Arial" panose="020B0604020202020204" pitchFamily="34" charset="0"/>
            </a:endParaRPr>
          </a:p>
          <a:p>
            <a:pPr marL="85725" algn="l"/>
            <a:r>
              <a:rPr lang="ru-RU" sz="1600" dirty="0">
                <a:latin typeface="Montserrat Light" panose="00000400000000000000" pitchFamily="2" charset="-52"/>
                <a:ea typeface="Segoe UI" panose="020B0502040204020203" pitchFamily="34" charset="0"/>
                <a:cs typeface="Arial" panose="020B0604020202020204" pitchFamily="34" charset="0"/>
              </a:rPr>
              <a:t>персонал Грузового комплекса</a:t>
            </a:r>
          </a:p>
          <a:p>
            <a:pPr marL="92075" algn="l">
              <a:spcAft>
                <a:spcPts val="600"/>
              </a:spcAft>
            </a:pPr>
            <a:endParaRPr lang="ru-RU" sz="1600" b="1" dirty="0">
              <a:latin typeface="Montserrat Light" panose="00000400000000000000" pitchFamily="2" charset="-52"/>
              <a:ea typeface="Segoe UI" panose="020B0502040204020203" pitchFamily="34" charset="0"/>
              <a:cs typeface="Arial" panose="020B0604020202020204" pitchFamily="34" charset="0"/>
            </a:endParaRPr>
          </a:p>
          <a:p>
            <a:pPr marL="92075" algn="l"/>
            <a:br>
              <a:rPr lang="ru-RU" sz="1600" dirty="0">
                <a:latin typeface="Montserrat Light" panose="00000400000000000000" pitchFamily="2" charset="-52"/>
                <a:ea typeface="Segoe UI" panose="020B0502040204020203" pitchFamily="34" charset="0"/>
                <a:cs typeface="Arial" panose="020B0604020202020204" pitchFamily="34" charset="0"/>
              </a:rPr>
            </a:br>
            <a:endParaRPr lang="ru-RU" sz="1600" dirty="0">
              <a:latin typeface="Montserrat Light" panose="00000400000000000000" pitchFamily="2" charset="-52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pic>
        <p:nvPicPr>
          <p:cNvPr id="56" name="Picture 8">
            <a:extLst>
              <a:ext uri="{FF2B5EF4-FFF2-40B4-BE49-F238E27FC236}">
                <a16:creationId xmlns:a16="http://schemas.microsoft.com/office/drawing/2014/main" id="{1E36683F-D017-4043-9F4F-306D356D439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579" y="1300974"/>
            <a:ext cx="581131" cy="600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895322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трелка: пятиугольник 9">
            <a:extLst>
              <a:ext uri="{FF2B5EF4-FFF2-40B4-BE49-F238E27FC236}">
                <a16:creationId xmlns:a16="http://schemas.microsoft.com/office/drawing/2014/main" id="{CE3EBDAD-A938-E61B-106E-72F28F0BFD6C}"/>
              </a:ext>
            </a:extLst>
          </p:cNvPr>
          <p:cNvSpPr/>
          <p:nvPr/>
        </p:nvSpPr>
        <p:spPr>
          <a:xfrm>
            <a:off x="-11818" y="0"/>
            <a:ext cx="4860331" cy="6858000"/>
          </a:xfrm>
          <a:prstGeom prst="homePlate">
            <a:avLst>
              <a:gd name="adj" fmla="val 46195"/>
            </a:avLst>
          </a:prstGeom>
          <a:solidFill>
            <a:srgbClr val="006665"/>
          </a:solidFill>
          <a:ln>
            <a:solidFill>
              <a:srgbClr val="2F5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krobat" panose="00000600000000000000" pitchFamily="50" charset="-52"/>
            </a:endParaRPr>
          </a:p>
        </p:txBody>
      </p:sp>
      <p:sp>
        <p:nvSpPr>
          <p:cNvPr id="11" name="Стрелка: пятиугольник 10">
            <a:extLst>
              <a:ext uri="{FF2B5EF4-FFF2-40B4-BE49-F238E27FC236}">
                <a16:creationId xmlns:a16="http://schemas.microsoft.com/office/drawing/2014/main" id="{775E128A-D045-CAA3-134C-69622646DF23}"/>
              </a:ext>
            </a:extLst>
          </p:cNvPr>
          <p:cNvSpPr/>
          <p:nvPr/>
        </p:nvSpPr>
        <p:spPr>
          <a:xfrm>
            <a:off x="203956" y="-5368"/>
            <a:ext cx="4691274" cy="6878608"/>
          </a:xfrm>
          <a:prstGeom prst="homePlate">
            <a:avLst>
              <a:gd name="adj" fmla="val 2402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krobat" panose="00000600000000000000" pitchFamily="50" charset="-52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785B4F2-8B80-3BED-3FA9-7F26975D458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022" t="17037" r="23457" b="13481"/>
          <a:stretch/>
        </p:blipFill>
        <p:spPr>
          <a:xfrm>
            <a:off x="3181976" y="1567566"/>
            <a:ext cx="5750560" cy="4371171"/>
          </a:xfrm>
          <a:prstGeom prst="rect">
            <a:avLst/>
          </a:prstGeom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16499052-158E-491E-22E8-4D2F4F8370AA}"/>
              </a:ext>
            </a:extLst>
          </p:cNvPr>
          <p:cNvSpPr/>
          <p:nvPr/>
        </p:nvSpPr>
        <p:spPr>
          <a:xfrm rot="19217273">
            <a:off x="1552721" y="981128"/>
            <a:ext cx="4118474" cy="21183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DFE1A8C-4727-31EA-2EB3-124D21214143}"/>
              </a:ext>
            </a:extLst>
          </p:cNvPr>
          <p:cNvSpPr txBox="1"/>
          <p:nvPr/>
        </p:nvSpPr>
        <p:spPr>
          <a:xfrm>
            <a:off x="589111" y="162695"/>
            <a:ext cx="10392449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400" dirty="0">
                <a:latin typeface="Akrobat Bold" panose="00000800000000000000" pitchFamily="50" charset="-52"/>
                <a:cs typeface="Arial" panose="020B0604020202020204" pitchFamily="34" charset="0"/>
              </a:rPr>
              <a:t>План-схема объектов ТЛТ «Каникурган»</a:t>
            </a:r>
            <a:br>
              <a:rPr lang="ru-RU" sz="4400" dirty="0">
                <a:latin typeface="Akrobat Bold" panose="00000800000000000000" pitchFamily="50" charset="-52"/>
                <a:cs typeface="Arial" panose="020B0604020202020204" pitchFamily="34" charset="0"/>
              </a:rPr>
            </a:br>
            <a:endParaRPr lang="ru-RU" sz="4400" dirty="0">
              <a:latin typeface="Akrobat Bold" panose="000008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7CA0A7-C72C-09F9-3A2F-675788F2E717}"/>
              </a:ext>
            </a:extLst>
          </p:cNvPr>
          <p:cNvSpPr txBox="1"/>
          <p:nvPr/>
        </p:nvSpPr>
        <p:spPr>
          <a:xfrm>
            <a:off x="9155783" y="1567566"/>
            <a:ext cx="3313672" cy="7726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b="1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Этап №1 (ВСВХ)</a:t>
            </a:r>
            <a:endParaRPr lang="ru-RU" sz="1600" b="1" dirty="0">
              <a:effectLst/>
              <a:latin typeface="Akrobat" panose="00000600000000000000" pitchFamily="50" charset="-52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b="1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Строительство завершено</a:t>
            </a:r>
            <a:endParaRPr lang="ru-RU" sz="1600" b="1" dirty="0">
              <a:effectLst/>
              <a:latin typeface="Akrobat" panose="00000600000000000000" pitchFamily="50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D423344-E610-3D10-72D2-26A7FE2F36B4}"/>
              </a:ext>
            </a:extLst>
          </p:cNvPr>
          <p:cNvSpPr txBox="1"/>
          <p:nvPr/>
        </p:nvSpPr>
        <p:spPr>
          <a:xfrm>
            <a:off x="488347" y="1322846"/>
            <a:ext cx="3377444" cy="1945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b="1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Этап №3.1 </a:t>
            </a:r>
            <a:br>
              <a:rPr lang="ru-RU" sz="1800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</a:br>
            <a:r>
              <a:rPr lang="ru-RU" sz="1800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(АБК, </a:t>
            </a:r>
            <a:r>
              <a:rPr lang="ru-RU" sz="1800" dirty="0" err="1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перетарочные</a:t>
            </a:r>
            <a:r>
              <a:rPr lang="ru-RU" sz="1800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 комплексы, контейнерная площадка, </a:t>
            </a:r>
            <a:r>
              <a:rPr lang="ru-RU" sz="1800" dirty="0" err="1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инж</a:t>
            </a:r>
            <a:r>
              <a:rPr lang="ru-RU" sz="1800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. сети, твердые покрытия)</a:t>
            </a:r>
            <a:endParaRPr lang="ru-RU" sz="1600" dirty="0">
              <a:effectLst/>
              <a:latin typeface="Akrobat" panose="00000600000000000000" pitchFamily="50" charset="-52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Срок завершения работ: </a:t>
            </a:r>
            <a:br>
              <a:rPr lang="ru-RU" sz="1800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</a:br>
            <a:r>
              <a:rPr lang="ru-RU" sz="1800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III квартал 2022г.</a:t>
            </a:r>
            <a:endParaRPr lang="ru-RU" sz="1600" dirty="0">
              <a:effectLst/>
              <a:latin typeface="Akrobat" panose="00000600000000000000" pitchFamily="50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D9C4C07A-42C5-F626-8C50-785EBBDDE4C0}"/>
              </a:ext>
            </a:extLst>
          </p:cNvPr>
          <p:cNvSpPr/>
          <p:nvPr/>
        </p:nvSpPr>
        <p:spPr>
          <a:xfrm rot="19237291">
            <a:off x="5735944" y="4715427"/>
            <a:ext cx="4490329" cy="2126031"/>
          </a:xfrm>
          <a:custGeom>
            <a:avLst/>
            <a:gdLst>
              <a:gd name="connsiteX0" fmla="*/ 0 w 4118474"/>
              <a:gd name="connsiteY0" fmla="*/ 0 h 2118360"/>
              <a:gd name="connsiteX1" fmla="*/ 4118474 w 4118474"/>
              <a:gd name="connsiteY1" fmla="*/ 0 h 2118360"/>
              <a:gd name="connsiteX2" fmla="*/ 4118474 w 4118474"/>
              <a:gd name="connsiteY2" fmla="*/ 2118360 h 2118360"/>
              <a:gd name="connsiteX3" fmla="*/ 0 w 4118474"/>
              <a:gd name="connsiteY3" fmla="*/ 2118360 h 2118360"/>
              <a:gd name="connsiteX4" fmla="*/ 0 w 4118474"/>
              <a:gd name="connsiteY4" fmla="*/ 0 h 2118360"/>
              <a:gd name="connsiteX0" fmla="*/ 0 w 4118474"/>
              <a:gd name="connsiteY0" fmla="*/ 0 h 2118360"/>
              <a:gd name="connsiteX1" fmla="*/ 4118474 w 4118474"/>
              <a:gd name="connsiteY1" fmla="*/ 0 h 2118360"/>
              <a:gd name="connsiteX2" fmla="*/ 4118474 w 4118474"/>
              <a:gd name="connsiteY2" fmla="*/ 2118360 h 2118360"/>
              <a:gd name="connsiteX3" fmla="*/ 1196867 w 4118474"/>
              <a:gd name="connsiteY3" fmla="*/ 1369066 h 2118360"/>
              <a:gd name="connsiteX4" fmla="*/ 0 w 4118474"/>
              <a:gd name="connsiteY4" fmla="*/ 0 h 2118360"/>
              <a:gd name="connsiteX0" fmla="*/ 0 w 4118474"/>
              <a:gd name="connsiteY0" fmla="*/ 0 h 2126031"/>
              <a:gd name="connsiteX1" fmla="*/ 4118474 w 4118474"/>
              <a:gd name="connsiteY1" fmla="*/ 0 h 2126031"/>
              <a:gd name="connsiteX2" fmla="*/ 4118474 w 4118474"/>
              <a:gd name="connsiteY2" fmla="*/ 2118360 h 2126031"/>
              <a:gd name="connsiteX3" fmla="*/ 1196867 w 4118474"/>
              <a:gd name="connsiteY3" fmla="*/ 1369066 h 2126031"/>
              <a:gd name="connsiteX4" fmla="*/ 0 w 4118474"/>
              <a:gd name="connsiteY4" fmla="*/ 0 h 2126031"/>
              <a:gd name="connsiteX0" fmla="*/ 0 w 4118474"/>
              <a:gd name="connsiteY0" fmla="*/ 0 h 2126031"/>
              <a:gd name="connsiteX1" fmla="*/ 4118474 w 4118474"/>
              <a:gd name="connsiteY1" fmla="*/ 0 h 2126031"/>
              <a:gd name="connsiteX2" fmla="*/ 4118474 w 4118474"/>
              <a:gd name="connsiteY2" fmla="*/ 2118360 h 2126031"/>
              <a:gd name="connsiteX3" fmla="*/ 1196867 w 4118474"/>
              <a:gd name="connsiteY3" fmla="*/ 1369066 h 2126031"/>
              <a:gd name="connsiteX4" fmla="*/ 0 w 4118474"/>
              <a:gd name="connsiteY4" fmla="*/ 0 h 2126031"/>
              <a:gd name="connsiteX0" fmla="*/ 0 w 4118474"/>
              <a:gd name="connsiteY0" fmla="*/ 0 h 2126031"/>
              <a:gd name="connsiteX1" fmla="*/ 4118474 w 4118474"/>
              <a:gd name="connsiteY1" fmla="*/ 0 h 2126031"/>
              <a:gd name="connsiteX2" fmla="*/ 4118474 w 4118474"/>
              <a:gd name="connsiteY2" fmla="*/ 2118360 h 2126031"/>
              <a:gd name="connsiteX3" fmla="*/ 1196867 w 4118474"/>
              <a:gd name="connsiteY3" fmla="*/ 1369066 h 2126031"/>
              <a:gd name="connsiteX4" fmla="*/ 0 w 4118474"/>
              <a:gd name="connsiteY4" fmla="*/ 0 h 212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18474" h="2126031">
                <a:moveTo>
                  <a:pt x="0" y="0"/>
                </a:moveTo>
                <a:lnTo>
                  <a:pt x="4118474" y="0"/>
                </a:lnTo>
                <a:lnTo>
                  <a:pt x="4118474" y="2118360"/>
                </a:lnTo>
                <a:cubicBezTo>
                  <a:pt x="3144605" y="1868595"/>
                  <a:pt x="2849494" y="2638246"/>
                  <a:pt x="1196867" y="1369066"/>
                </a:cubicBezTo>
                <a:cubicBezTo>
                  <a:pt x="649672" y="948076"/>
                  <a:pt x="398956" y="456355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91E577-D8FB-4C28-1D6A-6CCA56F22827}"/>
              </a:ext>
            </a:extLst>
          </p:cNvPr>
          <p:cNvSpPr txBox="1"/>
          <p:nvPr/>
        </p:nvSpPr>
        <p:spPr>
          <a:xfrm>
            <a:off x="9165460" y="2567026"/>
            <a:ext cx="3036217" cy="16488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b="1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Этап №2 </a:t>
            </a:r>
            <a:br>
              <a:rPr lang="ru-RU" sz="1800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</a:br>
            <a:r>
              <a:rPr lang="ru-RU" sz="1800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(АБК+СВХ, </a:t>
            </a:r>
            <a:r>
              <a:rPr lang="ru-RU" sz="1800" dirty="0" err="1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инж</a:t>
            </a:r>
            <a:r>
              <a:rPr lang="ru-RU" sz="1800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. сети, твердые покрытия)</a:t>
            </a:r>
            <a:endParaRPr lang="ru-RU" sz="1600" dirty="0">
              <a:effectLst/>
              <a:latin typeface="Akrobat" panose="00000600000000000000" pitchFamily="50" charset="-52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b="1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Срок завершения работ: </a:t>
            </a:r>
            <a:br>
              <a:rPr lang="ru-RU" sz="1800" b="1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</a:br>
            <a:r>
              <a:rPr lang="ru-RU" sz="1800" b="1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IV квартал 2022г.</a:t>
            </a:r>
            <a:endParaRPr lang="ru-RU" sz="1600" b="1" dirty="0">
              <a:effectLst/>
              <a:latin typeface="Akrobat" panose="00000600000000000000" pitchFamily="50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64D9135-9DAB-2FAB-0C05-5BA399207BA5}"/>
              </a:ext>
            </a:extLst>
          </p:cNvPr>
          <p:cNvSpPr txBox="1"/>
          <p:nvPr/>
        </p:nvSpPr>
        <p:spPr>
          <a:xfrm>
            <a:off x="486635" y="3478684"/>
            <a:ext cx="2646912" cy="10561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b="1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Этап №3.2 (Склад)</a:t>
            </a:r>
            <a:endParaRPr lang="ru-RU" sz="1600" b="1" dirty="0">
              <a:effectLst/>
              <a:latin typeface="Akrobat" panose="00000600000000000000" pitchFamily="50" charset="-52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Срок завершения работ: </a:t>
            </a:r>
            <a:br>
              <a:rPr lang="ru-RU" sz="1800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</a:br>
            <a:r>
              <a:rPr lang="ru-RU" sz="1800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I квартал 2023г</a:t>
            </a:r>
            <a:endParaRPr lang="ru-RU" sz="1600" dirty="0">
              <a:effectLst/>
              <a:latin typeface="Akrobat" panose="00000600000000000000" pitchFamily="50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57B7817-6A46-347F-C16D-6984F3B5246C}"/>
              </a:ext>
            </a:extLst>
          </p:cNvPr>
          <p:cNvSpPr txBox="1"/>
          <p:nvPr/>
        </p:nvSpPr>
        <p:spPr>
          <a:xfrm>
            <a:off x="488347" y="4952089"/>
            <a:ext cx="2693629" cy="13524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b="1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Этап №3.3 (Внеплощадочные сети)</a:t>
            </a:r>
            <a:endParaRPr lang="ru-RU" sz="1600" b="1" dirty="0">
              <a:effectLst/>
              <a:latin typeface="Akrobat" panose="00000600000000000000" pitchFamily="50" charset="-52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800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Срок завершения работ: </a:t>
            </a:r>
            <a:br>
              <a:rPr lang="ru-RU" sz="1800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</a:br>
            <a:r>
              <a:rPr lang="ru-RU" sz="1800" dirty="0">
                <a:effectLst/>
                <a:latin typeface="Akrobat" panose="00000600000000000000" pitchFamily="50" charset="-52"/>
                <a:ea typeface="Calibri" panose="020F0502020204030204" pitchFamily="34" charset="0"/>
                <a:cs typeface="Arial Nova" panose="020B0504020202020204" pitchFamily="34" charset="0"/>
              </a:rPr>
              <a:t>IV квартал 2022г.</a:t>
            </a:r>
            <a:endParaRPr lang="ru-RU" sz="1600" dirty="0">
              <a:effectLst/>
              <a:latin typeface="Akrobat" panose="00000600000000000000" pitchFamily="50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0F3551-5246-7697-EDE5-31C30543DBC5}"/>
              </a:ext>
            </a:extLst>
          </p:cNvPr>
          <p:cNvSpPr txBox="1"/>
          <p:nvPr/>
        </p:nvSpPr>
        <p:spPr>
          <a:xfrm>
            <a:off x="8144287" y="4798771"/>
            <a:ext cx="3849173" cy="13653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latin typeface="Akrobat" panose="00000600000000000000" pitchFamily="50" charset="-52"/>
              </a:rPr>
              <a:t>Этап №3.4 </a:t>
            </a:r>
            <a:r>
              <a:rPr lang="ru-RU" dirty="0">
                <a:latin typeface="Akrobat" panose="00000600000000000000" pitchFamily="50" charset="-52"/>
              </a:rPr>
              <a:t>(ПХГ / Расширение контейнерной площадки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latin typeface="Akrobat" panose="00000600000000000000" pitchFamily="50" charset="-52"/>
              </a:rPr>
              <a:t>Срок завершения работ: </a:t>
            </a:r>
            <a:br>
              <a:rPr lang="ru-RU" dirty="0">
                <a:latin typeface="Akrobat" panose="00000600000000000000" pitchFamily="50" charset="-52"/>
              </a:rPr>
            </a:br>
            <a:r>
              <a:rPr lang="ru-RU" dirty="0">
                <a:latin typeface="Akrobat" panose="00000600000000000000" pitchFamily="50" charset="-52"/>
              </a:rPr>
              <a:t>II квартал 2023г.</a:t>
            </a:r>
          </a:p>
        </p:txBody>
      </p:sp>
      <p:cxnSp>
        <p:nvCxnSpPr>
          <p:cNvPr id="27" name="Соединитель: уступ 26">
            <a:extLst>
              <a:ext uri="{FF2B5EF4-FFF2-40B4-BE49-F238E27FC236}">
                <a16:creationId xmlns:a16="http://schemas.microsoft.com/office/drawing/2014/main" id="{D7123055-56A7-8789-5C85-13EAD37491BD}"/>
              </a:ext>
            </a:extLst>
          </p:cNvPr>
          <p:cNvCxnSpPr>
            <a:cxnSpLocks/>
          </p:cNvCxnSpPr>
          <p:nvPr/>
        </p:nvCxnSpPr>
        <p:spPr>
          <a:xfrm>
            <a:off x="1554480" y="1499223"/>
            <a:ext cx="3738465" cy="2012683"/>
          </a:xfrm>
          <a:prstGeom prst="bentConnector3">
            <a:avLst>
              <a:gd name="adj1" fmla="val 100549"/>
            </a:avLst>
          </a:prstGeom>
          <a:ln w="12700"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Соединитель: уступ 34">
            <a:extLst>
              <a:ext uri="{FF2B5EF4-FFF2-40B4-BE49-F238E27FC236}">
                <a16:creationId xmlns:a16="http://schemas.microsoft.com/office/drawing/2014/main" id="{DC73A8DB-4675-ADFC-7D3D-21B07BEED2EF}"/>
              </a:ext>
            </a:extLst>
          </p:cNvPr>
          <p:cNvCxnSpPr>
            <a:cxnSpLocks/>
          </p:cNvCxnSpPr>
          <p:nvPr/>
        </p:nvCxnSpPr>
        <p:spPr>
          <a:xfrm>
            <a:off x="2318791" y="3647646"/>
            <a:ext cx="2624868" cy="295418"/>
          </a:xfrm>
          <a:prstGeom prst="bentConnector3">
            <a:avLst>
              <a:gd name="adj1" fmla="val 97609"/>
            </a:avLst>
          </a:prstGeom>
          <a:ln w="12700"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Соединитель: уступ 38">
            <a:extLst>
              <a:ext uri="{FF2B5EF4-FFF2-40B4-BE49-F238E27FC236}">
                <a16:creationId xmlns:a16="http://schemas.microsoft.com/office/drawing/2014/main" id="{6D5BFC22-ED0E-6BD8-ECE5-3EBD78709869}"/>
              </a:ext>
            </a:extLst>
          </p:cNvPr>
          <p:cNvCxnSpPr>
            <a:cxnSpLocks/>
          </p:cNvCxnSpPr>
          <p:nvPr/>
        </p:nvCxnSpPr>
        <p:spPr>
          <a:xfrm flipV="1">
            <a:off x="1554480" y="4209906"/>
            <a:ext cx="3866668" cy="907383"/>
          </a:xfrm>
          <a:prstGeom prst="bentConnector3">
            <a:avLst>
              <a:gd name="adj1" fmla="val 50000"/>
            </a:avLst>
          </a:prstGeom>
          <a:ln w="12700"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Соединитель: уступ 40">
            <a:extLst>
              <a:ext uri="{FF2B5EF4-FFF2-40B4-BE49-F238E27FC236}">
                <a16:creationId xmlns:a16="http://schemas.microsoft.com/office/drawing/2014/main" id="{3241DE18-DF1D-76A4-225F-E068A99F6433}"/>
              </a:ext>
            </a:extLst>
          </p:cNvPr>
          <p:cNvCxnSpPr>
            <a:cxnSpLocks/>
          </p:cNvCxnSpPr>
          <p:nvPr/>
        </p:nvCxnSpPr>
        <p:spPr>
          <a:xfrm>
            <a:off x="4272487" y="4534807"/>
            <a:ext cx="3840144" cy="450698"/>
          </a:xfrm>
          <a:prstGeom prst="bentConnector3">
            <a:avLst>
              <a:gd name="adj1" fmla="val 50397"/>
            </a:avLst>
          </a:prstGeom>
          <a:ln w="12700"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Соединитель: уступ 44">
            <a:extLst>
              <a:ext uri="{FF2B5EF4-FFF2-40B4-BE49-F238E27FC236}">
                <a16:creationId xmlns:a16="http://schemas.microsoft.com/office/drawing/2014/main" id="{0C7B54E4-D533-69F5-01B4-41E69C23B296}"/>
              </a:ext>
            </a:extLst>
          </p:cNvPr>
          <p:cNvCxnSpPr>
            <a:cxnSpLocks/>
          </p:cNvCxnSpPr>
          <p:nvPr/>
        </p:nvCxnSpPr>
        <p:spPr>
          <a:xfrm flipV="1">
            <a:off x="6822349" y="2746150"/>
            <a:ext cx="2310740" cy="679741"/>
          </a:xfrm>
          <a:prstGeom prst="bentConnector3">
            <a:avLst>
              <a:gd name="adj1" fmla="val 50000"/>
            </a:avLst>
          </a:prstGeom>
          <a:ln w="12700"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Соединитель: уступ 46">
            <a:extLst>
              <a:ext uri="{FF2B5EF4-FFF2-40B4-BE49-F238E27FC236}">
                <a16:creationId xmlns:a16="http://schemas.microsoft.com/office/drawing/2014/main" id="{D98DC098-17CA-66E4-71F9-1B7E89019B55}"/>
              </a:ext>
            </a:extLst>
          </p:cNvPr>
          <p:cNvCxnSpPr>
            <a:cxnSpLocks/>
          </p:cNvCxnSpPr>
          <p:nvPr/>
        </p:nvCxnSpPr>
        <p:spPr>
          <a:xfrm flipV="1">
            <a:off x="7293568" y="1750120"/>
            <a:ext cx="1839521" cy="755444"/>
          </a:xfrm>
          <a:prstGeom prst="bentConnector3">
            <a:avLst>
              <a:gd name="adj1" fmla="val 1120"/>
            </a:avLst>
          </a:prstGeom>
          <a:ln w="12700"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8A6B5F32-FA65-6540-CBFE-FDA1BA335D2F}"/>
              </a:ext>
            </a:extLst>
          </p:cNvPr>
          <p:cNvSpPr txBox="1"/>
          <p:nvPr/>
        </p:nvSpPr>
        <p:spPr>
          <a:xfrm>
            <a:off x="6899802" y="3557689"/>
            <a:ext cx="1813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krobat Black" panose="00000A00000000000000" pitchFamily="50" charset="-52"/>
              </a:rPr>
              <a:t>НАСЫПЬ 1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7C32358-5FCD-3F3F-3BE7-49DDA3D303BE}"/>
              </a:ext>
            </a:extLst>
          </p:cNvPr>
          <p:cNvSpPr txBox="1"/>
          <p:nvPr/>
        </p:nvSpPr>
        <p:spPr>
          <a:xfrm>
            <a:off x="4140591" y="2848654"/>
            <a:ext cx="1813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krobat Black" panose="00000A00000000000000" pitchFamily="50" charset="-52"/>
              </a:rPr>
              <a:t>НАСЫПЬ 2</a:t>
            </a:r>
          </a:p>
        </p:txBody>
      </p:sp>
    </p:spTree>
    <p:extLst>
      <p:ext uri="{BB962C8B-B14F-4D97-AF65-F5344CB8AC3E}">
        <p14:creationId xmlns:p14="http://schemas.microsoft.com/office/powerpoint/2010/main" val="9464899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трелка: пятиугольник 14">
            <a:extLst>
              <a:ext uri="{FF2B5EF4-FFF2-40B4-BE49-F238E27FC236}">
                <a16:creationId xmlns:a16="http://schemas.microsoft.com/office/drawing/2014/main" id="{8E950E0A-22E9-BFD3-E51D-74A99ADA1218}"/>
              </a:ext>
            </a:extLst>
          </p:cNvPr>
          <p:cNvSpPr/>
          <p:nvPr/>
        </p:nvSpPr>
        <p:spPr>
          <a:xfrm>
            <a:off x="0" y="0"/>
            <a:ext cx="3188451" cy="6858000"/>
          </a:xfrm>
          <a:prstGeom prst="homePlate">
            <a:avLst>
              <a:gd name="adj" fmla="val 21641"/>
            </a:avLst>
          </a:prstGeom>
          <a:solidFill>
            <a:srgbClr val="006665"/>
          </a:solidFill>
          <a:ln>
            <a:solidFill>
              <a:srgbClr val="2F5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krobat" panose="00000600000000000000" pitchFamily="50" charset="-52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D003D9-C722-BA57-F922-E189A29861D6}"/>
              </a:ext>
            </a:extLst>
          </p:cNvPr>
          <p:cNvSpPr txBox="1"/>
          <p:nvPr/>
        </p:nvSpPr>
        <p:spPr>
          <a:xfrm>
            <a:off x="3704441" y="1634666"/>
            <a:ext cx="229413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ru-RU" sz="1800" b="0" i="0" u="none" strike="noStrike" kern="1200" cap="all" spc="100" normalizeH="0" baseline="0" noProof="0" dirty="0">
                <a:ln>
                  <a:noFill/>
                </a:ln>
                <a:effectLst/>
                <a:uLnTx/>
                <a:uFillTx/>
                <a:latin typeface="Akrobat" panose="00000600000000000000" pitchFamily="50" charset="-52"/>
              </a:rPr>
              <a:t>сентябрь 2022</a:t>
            </a:r>
            <a:br>
              <a:rPr kumimoji="0" lang="ru-RU" sz="1800" b="0" i="0" u="none" strike="noStrike" kern="1200" cap="all" spc="100" normalizeH="0" baseline="0" noProof="0" dirty="0">
                <a:ln>
                  <a:noFill/>
                </a:ln>
                <a:effectLst/>
                <a:uLnTx/>
                <a:uFillTx/>
                <a:latin typeface="Akrobat" panose="00000600000000000000" pitchFamily="50" charset="-52"/>
              </a:rPr>
            </a:br>
            <a:endParaRPr lang="ru-RU" dirty="0">
              <a:latin typeface="Akrobat" panose="00000600000000000000" pitchFamily="50" charset="-52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68A19DF-FF5C-4F1E-79CD-62CCA8960D94}"/>
              </a:ext>
            </a:extLst>
          </p:cNvPr>
          <p:cNvSpPr txBox="1"/>
          <p:nvPr/>
        </p:nvSpPr>
        <p:spPr>
          <a:xfrm>
            <a:off x="9489059" y="5587484"/>
            <a:ext cx="206728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ru-RU" sz="1800" b="0" i="0" u="none" strike="noStrike" kern="1200" cap="all" spc="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Bold" panose="00000800000000000000" pitchFamily="50" charset="-52"/>
              </a:rPr>
              <a:t>Этап №3.3 «ТЛТ»</a:t>
            </a:r>
            <a:endParaRPr lang="ru-RU" dirty="0">
              <a:solidFill>
                <a:srgbClr val="000000"/>
              </a:solidFill>
              <a:latin typeface="Akrobat Bold" panose="00000800000000000000" pitchFamily="50" charset="-52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078B36-AB35-F301-1F66-DC732E94FE5C}"/>
              </a:ext>
            </a:extLst>
          </p:cNvPr>
          <p:cNvSpPr txBox="1"/>
          <p:nvPr/>
        </p:nvSpPr>
        <p:spPr>
          <a:xfrm>
            <a:off x="297180" y="1080668"/>
            <a:ext cx="242101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ru-RU" sz="3600" b="1" i="0" u="none" strike="noStrike" kern="1200" cap="all" spc="1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robat Bold" panose="00000800000000000000" pitchFamily="50" charset="-52"/>
              </a:rPr>
              <a:t>Завершен</a:t>
            </a:r>
            <a:br>
              <a:rPr kumimoji="0" lang="ru-RU" sz="3600" b="1" i="0" u="none" strike="noStrike" kern="1200" cap="all" spc="1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robat Bold" panose="00000800000000000000" pitchFamily="50" charset="-52"/>
              </a:rPr>
            </a:br>
            <a:endParaRPr lang="ru-RU" sz="3600" b="1" dirty="0">
              <a:solidFill>
                <a:schemeClr val="bg1"/>
              </a:solidFill>
              <a:latin typeface="Akrobat Bold" panose="00000800000000000000" pitchFamily="50" charset="-52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16FD53F-096E-A9F2-CBBF-DF3A5F9FCDBF}"/>
              </a:ext>
            </a:extLst>
          </p:cNvPr>
          <p:cNvSpPr txBox="1"/>
          <p:nvPr/>
        </p:nvSpPr>
        <p:spPr>
          <a:xfrm>
            <a:off x="9700048" y="1588499"/>
            <a:ext cx="21947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ru-RU" sz="1800" b="0" i="0" u="none" strike="noStrike" kern="1200" cap="all" spc="100" normalizeH="0" baseline="0" noProof="0" dirty="0">
                <a:ln>
                  <a:noFill/>
                </a:ln>
                <a:effectLst/>
                <a:uLnTx/>
                <a:uFillTx/>
                <a:latin typeface="Akrobat" panose="00000600000000000000" pitchFamily="50" charset="-52"/>
              </a:rPr>
              <a:t>декабрь 2022</a:t>
            </a:r>
            <a:br>
              <a:rPr kumimoji="0" lang="ru-RU" sz="1800" b="0" i="0" u="none" strike="noStrike" kern="1200" cap="all" spc="100" normalizeH="0" baseline="0" noProof="0" dirty="0">
                <a:ln>
                  <a:noFill/>
                </a:ln>
                <a:effectLst/>
                <a:uLnTx/>
                <a:uFillTx/>
                <a:latin typeface="Akrobat" panose="00000600000000000000" pitchFamily="50" charset="-52"/>
              </a:rPr>
            </a:br>
            <a:endParaRPr lang="ru-RU" dirty="0">
              <a:latin typeface="Akrobat" panose="00000600000000000000" pitchFamily="50" charset="-52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99AB97A-F97E-891F-45FC-C6A29775E27E}"/>
              </a:ext>
            </a:extLst>
          </p:cNvPr>
          <p:cNvSpPr txBox="1"/>
          <p:nvPr/>
        </p:nvSpPr>
        <p:spPr>
          <a:xfrm>
            <a:off x="485297" y="5587484"/>
            <a:ext cx="285838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ru-RU" sz="1800" b="0" i="0" u="none" strike="noStrike" kern="1200" cap="all" spc="1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krobat Bold" panose="00000800000000000000" pitchFamily="50" charset="-52"/>
              </a:rPr>
              <a:t>Этап №1 «ВСВХ» 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83391A3-159C-7A69-4E4C-483F35B4A56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475"/>
          <a:stretch/>
        </p:blipFill>
        <p:spPr>
          <a:xfrm>
            <a:off x="189615" y="2155273"/>
            <a:ext cx="2789367" cy="2547453"/>
          </a:xfrm>
          <a:prstGeom prst="homePlate">
            <a:avLst>
              <a:gd name="adj" fmla="val 11114"/>
            </a:avLst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55E2CC7-FAE4-65DF-BC18-36B669C777E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88" r="3722"/>
          <a:stretch/>
        </p:blipFill>
        <p:spPr>
          <a:xfrm>
            <a:off x="6181819" y="2374683"/>
            <a:ext cx="2858385" cy="2538897"/>
          </a:xfrm>
          <a:prstGeom prst="chevron">
            <a:avLst>
              <a:gd name="adj" fmla="val 6181"/>
            </a:avLst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97E2FF3-18D1-DD7E-44AC-7FB704EDCAA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47" r="7700"/>
          <a:stretch/>
        </p:blipFill>
        <p:spPr>
          <a:xfrm>
            <a:off x="3170230" y="2399113"/>
            <a:ext cx="2858385" cy="2514467"/>
          </a:xfrm>
          <a:prstGeom prst="chevron">
            <a:avLst>
              <a:gd name="adj" fmla="val 6967"/>
            </a:avLst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F514A024-43D6-178C-5F32-99297FEF88A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54" r="17228"/>
          <a:stretch/>
        </p:blipFill>
        <p:spPr>
          <a:xfrm>
            <a:off x="9208327" y="2374683"/>
            <a:ext cx="2858385" cy="2551136"/>
          </a:xfrm>
          <a:prstGeom prst="chevron">
            <a:avLst>
              <a:gd name="adj" fmla="val 5794"/>
            </a:avLst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43B92D2-21DE-ACCF-7A45-38F809254191}"/>
              </a:ext>
            </a:extLst>
          </p:cNvPr>
          <p:cNvSpPr txBox="1"/>
          <p:nvPr/>
        </p:nvSpPr>
        <p:spPr>
          <a:xfrm>
            <a:off x="6096000" y="5587484"/>
            <a:ext cx="21298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cap="all" spc="100" dirty="0">
                <a:solidFill>
                  <a:srgbClr val="000000"/>
                </a:solidFill>
                <a:latin typeface="Akrobat Bold" panose="00000800000000000000" pitchFamily="50" charset="-52"/>
              </a:rPr>
              <a:t>Этап №3.1 «ТЛТ»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D1548B1-A060-F41D-A91A-9BA4266C11DD}"/>
              </a:ext>
            </a:extLst>
          </p:cNvPr>
          <p:cNvSpPr txBox="1"/>
          <p:nvPr/>
        </p:nvSpPr>
        <p:spPr>
          <a:xfrm>
            <a:off x="6617774" y="1588499"/>
            <a:ext cx="22377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ru-RU" sz="1800" b="0" i="0" u="none" strike="noStrike" kern="1200" cap="all" spc="100" normalizeH="0" baseline="0" noProof="0" dirty="0">
                <a:ln>
                  <a:noFill/>
                </a:ln>
                <a:effectLst/>
                <a:uLnTx/>
                <a:uFillTx/>
                <a:latin typeface="Akrobat" panose="00000600000000000000" pitchFamily="50" charset="-52"/>
              </a:rPr>
              <a:t>октябрь 2022</a:t>
            </a:r>
            <a:endParaRPr lang="ru-R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5AEB85A-1058-6B23-0B4F-DD6427ACA3EB}"/>
              </a:ext>
            </a:extLst>
          </p:cNvPr>
          <p:cNvSpPr txBox="1"/>
          <p:nvPr/>
        </p:nvSpPr>
        <p:spPr>
          <a:xfrm>
            <a:off x="3315934" y="5587484"/>
            <a:ext cx="17164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ru-RU" sz="1800" b="0" i="0" u="none" strike="noStrike" kern="1200" cap="all" spc="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robat Bold" panose="00000800000000000000" pitchFamily="50" charset="-52"/>
              </a:rPr>
              <a:t>Этап №2 «ТЛТ»</a:t>
            </a:r>
            <a:endParaRPr lang="ru-RU" dirty="0">
              <a:solidFill>
                <a:srgbClr val="000000"/>
              </a:solidFill>
              <a:latin typeface="Akrobat Bold" panose="00000800000000000000" pitchFamily="50" charset="-52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0E96B74-3214-9317-BD6A-B12915B2597C}"/>
              </a:ext>
            </a:extLst>
          </p:cNvPr>
          <p:cNvSpPr txBox="1"/>
          <p:nvPr/>
        </p:nvSpPr>
        <p:spPr>
          <a:xfrm>
            <a:off x="3188450" y="261957"/>
            <a:ext cx="8367898" cy="634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4400" dirty="0">
                <a:latin typeface="Akrobat Bold" panose="00000800000000000000" pitchFamily="50" charset="-52"/>
                <a:cs typeface="Arial" panose="020B0604020202020204" pitchFamily="34" charset="0"/>
              </a:rPr>
              <a:t>Статус строительства на 30.05.2022</a:t>
            </a:r>
            <a:endParaRPr lang="en-US" sz="4400" dirty="0">
              <a:latin typeface="Montserrat" panose="02000505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91279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250"/>
                                  </p:stCondLst>
                                  <p:iterate type="wd">
                                    <p:tmPct val="2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k_theme">
      <a:dk1>
        <a:srgbClr val="005F61"/>
      </a:dk1>
      <a:lt1>
        <a:srgbClr val="FFFFFF"/>
      </a:lt1>
      <a:dk2>
        <a:srgbClr val="009B77"/>
      </a:dk2>
      <a:lt2>
        <a:srgbClr val="00D77D"/>
      </a:lt2>
      <a:accent1>
        <a:srgbClr val="00D77D"/>
      </a:accent1>
      <a:accent2>
        <a:srgbClr val="FF7F32"/>
      </a:accent2>
      <a:accent3>
        <a:srgbClr val="9BE3BF"/>
      </a:accent3>
      <a:accent4>
        <a:srgbClr val="009B77"/>
      </a:accent4>
      <a:accent5>
        <a:srgbClr val="005F61"/>
      </a:accent5>
      <a:accent6>
        <a:srgbClr val="FFFFFF"/>
      </a:accent6>
      <a:hlink>
        <a:srgbClr val="005F61"/>
      </a:hlink>
      <a:folHlink>
        <a:srgbClr val="009B72"/>
      </a:folHlink>
    </a:clrScheme>
    <a:fontScheme name="кк">
      <a:majorFont>
        <a:latin typeface="Navigo Medium"/>
        <a:ea typeface=""/>
        <a:cs typeface=""/>
      </a:majorFont>
      <a:minorFont>
        <a:latin typeface="Navig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1</TotalTime>
  <Words>515</Words>
  <Application>Microsoft Office PowerPoint</Application>
  <PresentationFormat>Широкоэкранный</PresentationFormat>
  <Paragraphs>117</Paragraphs>
  <Slides>7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3" baseType="lpstr">
      <vt:lpstr>Akrobat</vt:lpstr>
      <vt:lpstr>Akrobat Black</vt:lpstr>
      <vt:lpstr>Akrobat Bold</vt:lpstr>
      <vt:lpstr>Arial</vt:lpstr>
      <vt:lpstr>Calibri</vt:lpstr>
      <vt:lpstr>Calibri Light</vt:lpstr>
      <vt:lpstr>Fira Sans Extra Condensed Medium</vt:lpstr>
      <vt:lpstr>Montserrat</vt:lpstr>
      <vt:lpstr>Montserrat Light</vt:lpstr>
      <vt:lpstr>Navigo</vt:lpstr>
      <vt:lpstr>Navigo Medium</vt:lpstr>
      <vt:lpstr>System Font Regular</vt:lpstr>
      <vt:lpstr>Wingdings</vt:lpstr>
      <vt:lpstr>Office Theme</vt:lpstr>
      <vt:lpstr>Custom Design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Пользователь Microsoft Office</dc:creator>
  <cp:lastModifiedBy>Natalia Kazarina</cp:lastModifiedBy>
  <cp:revision>92</cp:revision>
  <dcterms:created xsi:type="dcterms:W3CDTF">2021-06-03T11:31:16Z</dcterms:created>
  <dcterms:modified xsi:type="dcterms:W3CDTF">2022-08-23T18:14:41Z</dcterms:modified>
</cp:coreProperties>
</file>